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>
  <p:sldMasterIdLst>
    <p:sldMasterId id="2147483648" r:id="rId1"/>
    <p:sldMasterId id="2147483662" r:id="rId2"/>
    <p:sldMasterId id="2147483683" r:id="rId3"/>
    <p:sldMasterId id="2147483705" r:id="rId4"/>
  </p:sldMasterIdLst>
  <p:notesMasterIdLst>
    <p:notesMasterId r:id="rId28"/>
  </p:notesMasterIdLst>
  <p:handoutMasterIdLst>
    <p:handoutMasterId r:id="rId29"/>
  </p:handoutMasterIdLst>
  <p:sldIdLst>
    <p:sldId id="420" r:id="rId5"/>
    <p:sldId id="411" r:id="rId6"/>
    <p:sldId id="440" r:id="rId7"/>
    <p:sldId id="441" r:id="rId8"/>
    <p:sldId id="415" r:id="rId9"/>
    <p:sldId id="421" r:id="rId10"/>
    <p:sldId id="422" r:id="rId11"/>
    <p:sldId id="425" r:id="rId12"/>
    <p:sldId id="423" r:id="rId13"/>
    <p:sldId id="442" r:id="rId14"/>
    <p:sldId id="427" r:id="rId15"/>
    <p:sldId id="432" r:id="rId16"/>
    <p:sldId id="412" r:id="rId17"/>
    <p:sldId id="401" r:id="rId18"/>
    <p:sldId id="419" r:id="rId19"/>
    <p:sldId id="402" r:id="rId20"/>
    <p:sldId id="403" r:id="rId21"/>
    <p:sldId id="405" r:id="rId22"/>
    <p:sldId id="414" r:id="rId23"/>
    <p:sldId id="439" r:id="rId24"/>
    <p:sldId id="443" r:id="rId25"/>
    <p:sldId id="416" r:id="rId26"/>
    <p:sldId id="334" r:id="rId27"/>
  </p:sldIdLst>
  <p:sldSz cx="12192000" cy="6858000"/>
  <p:notesSz cx="6858000" cy="9144000"/>
  <p:embeddedFontLst>
    <p:embeddedFont>
      <p:font typeface="Pebble" panose="020F0703020203020204" pitchFamily="34" charset="0"/>
      <p:bold r:id="rId30"/>
    </p:embeddedFont>
    <p:embeddedFont>
      <p:font typeface="Calibri" panose="020F0502020204030204" pitchFamily="34" charset="0"/>
      <p:regular r:id="rId31"/>
      <p:bold r:id="rId32"/>
      <p:italic r:id="rId33"/>
      <p:boldItalic r:id="rId34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Keskmine laad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Keskmine laad 2 – rõhk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93D81CF-94F2-401A-BA57-92F5A7B2D0C5}" styleName="Keskmine laad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7CE84F3-28C3-443E-9E96-99CF82512B78}" styleName="Tume laad 1 – rõhk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16DA210-FB5B-4158-B5E0-FEB733F419BA}" styleName="Hele laad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81" autoAdjust="0"/>
    <p:restoredTop sz="93441" autoAdjust="0"/>
  </p:normalViewPr>
  <p:slideViewPr>
    <p:cSldViewPr snapToGrid="0" snapToObjects="1">
      <p:cViewPr varScale="1">
        <p:scale>
          <a:sx n="109" d="100"/>
          <a:sy n="109" d="100"/>
        </p:scale>
        <p:origin x="4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1948" y="2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font" Target="fonts/font5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4.fntdata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3.fntdata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2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font" Target="fonts/font1.fntdata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4F807D-2187-4B2D-BF2A-4A368FB0C153}" type="datetimeFigureOut">
              <a:rPr lang="en-GB" smtClean="0"/>
              <a:t>10/12/2017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7B585E-5ADF-4795-B9E3-79CF9052EC3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47474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C7DE87-EE64-4597-A63C-BD9AB33395FA}" type="datetimeFigureOut">
              <a:rPr lang="en-GB" smtClean="0"/>
              <a:t>10/12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028019-AA91-4C76-BB6B-CB38C01EC32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18572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028019-AA91-4C76-BB6B-CB38C01EC32F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83701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028019-AA91-4C76-BB6B-CB38C01EC32F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3979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028019-AA91-4C76-BB6B-CB38C01EC32F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61438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t-EE" sz="1200" dirty="0" smtClean="0">
              <a:solidFill>
                <a:prstClr val="white"/>
              </a:solidFill>
            </a:endParaRPr>
          </a:p>
          <a:p>
            <a:endParaRPr lang="et-EE" dirty="0" smtClean="0"/>
          </a:p>
          <a:p>
            <a:endParaRPr lang="et-EE" dirty="0" smtClean="0"/>
          </a:p>
          <a:p>
            <a:endParaRPr lang="et-EE" dirty="0" smtClean="0"/>
          </a:p>
          <a:p>
            <a:endParaRPr lang="et-E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028019-AA91-4C76-BB6B-CB38C01EC32F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4143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t-E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028019-AA91-4C76-BB6B-CB38C01EC32F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47942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028019-AA91-4C76-BB6B-CB38C01EC32F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87436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028019-AA91-4C76-BB6B-CB38C01EC32F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06334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3493" y="1173475"/>
            <a:ext cx="5732507" cy="3741425"/>
          </a:xfrm>
        </p:spPr>
        <p:txBody>
          <a:bodyPr tIns="36000" rIns="180000" anchor="t">
            <a:noAutofit/>
          </a:bodyPr>
          <a:lstStyle>
            <a:lvl1pPr algn="l">
              <a:lnSpc>
                <a:spcPct val="80000"/>
              </a:lnSpc>
              <a:defRPr sz="55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8775" y="4914901"/>
            <a:ext cx="5737225" cy="1311728"/>
          </a:xfr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58775" y="6239174"/>
            <a:ext cx="2873329" cy="307777"/>
          </a:xfrm>
        </p:spPr>
        <p:txBody>
          <a:bodyPr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800"/>
            </a:lvl1pPr>
          </a:lstStyle>
          <a:p>
            <a:fld id="{19F5FF46-0854-47F5-B82B-46D6712B048E}" type="datetime1">
              <a:rPr lang="en-GB" smtClean="0"/>
              <a:pPr/>
              <a:t>10/12/2017</a:t>
            </a:fld>
            <a:endParaRPr lang="en-GB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1" hasCustomPrompt="1"/>
          </p:nvPr>
        </p:nvSpPr>
        <p:spPr>
          <a:xfrm>
            <a:off x="6096000" y="-1"/>
            <a:ext cx="6096000" cy="6859301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en-GB" dirty="0" smtClean="0"/>
              <a:t>Placeholder for Pebble images</a:t>
            </a:r>
            <a:endParaRPr lang="en-GB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529" y="368863"/>
            <a:ext cx="1337228" cy="541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720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1793875"/>
            <a:ext cx="5467350" cy="2719388"/>
          </a:xfrm>
        </p:spPr>
        <p:txBody>
          <a:bodyPr tIns="36000" rIns="180000" anchor="t">
            <a:noAutofit/>
          </a:bodyPr>
          <a:lstStyle>
            <a:lvl1pPr algn="l">
              <a:lnSpc>
                <a:spcPct val="85000"/>
              </a:lnSpc>
              <a:defRPr sz="600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163" y="4689476"/>
            <a:ext cx="5467350" cy="1271587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>
          <a:xfrm>
            <a:off x="538163" y="6421919"/>
            <a:ext cx="828000" cy="153888"/>
          </a:xfrm>
        </p:spPr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sv-SE" dirty="0">
              <a:solidFill>
                <a:prstClr val="black"/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6184901" y="1"/>
            <a:ext cx="6007100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725" y="165237"/>
            <a:ext cx="4258798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612647"/>
      </p:ext>
    </p:extLst>
  </p:cSld>
  <p:clrMapOvr>
    <a:masterClrMapping/>
  </p:clrMapOvr>
  <p:transition>
    <p:fade/>
  </p:transition>
  <p:hf sldNum="0"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Meta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 userDrawn="1"/>
        </p:nvSpPr>
        <p:spPr>
          <a:xfrm>
            <a:off x="3363912" y="4513263"/>
            <a:ext cx="524182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prstClr val="white">
                    <a:lumMod val="50000"/>
                  </a:prstClr>
                </a:solidFill>
              </a:rPr>
              <a:t>Identifier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363912" y="4680493"/>
            <a:ext cx="2641601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 baseline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dentifier 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3363912" y="4904290"/>
            <a:ext cx="468077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prstClr val="white">
                    <a:lumMod val="50000"/>
                  </a:prstClr>
                </a:solidFill>
              </a:rPr>
              <a:t>Version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3363912" y="5285792"/>
            <a:ext cx="503343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prstClr val="white">
                    <a:lumMod val="50000"/>
                  </a:prstClr>
                </a:solidFill>
              </a:rPr>
              <a:t>Status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3363912" y="5453022"/>
            <a:ext cx="2641601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Status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3363912" y="5676819"/>
            <a:ext cx="503343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prstClr val="white">
                    <a:lumMod val="50000"/>
                  </a:prstClr>
                </a:solidFill>
              </a:rPr>
              <a:t>Relation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3363912" y="5844047"/>
            <a:ext cx="2641601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lation</a:t>
            </a:r>
          </a:p>
        </p:txBody>
      </p:sp>
      <p:sp>
        <p:nvSpPr>
          <p:cNvPr id="24" name="TextBox 23"/>
          <p:cNvSpPr txBox="1"/>
          <p:nvPr userDrawn="1"/>
        </p:nvSpPr>
        <p:spPr>
          <a:xfrm>
            <a:off x="538163" y="4517983"/>
            <a:ext cx="892873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prstClr val="white">
                    <a:lumMod val="50000"/>
                  </a:prstClr>
                </a:solidFill>
              </a:rPr>
              <a:t>Document type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538164" y="4685213"/>
            <a:ext cx="2646362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Document type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538163" y="4909010"/>
            <a:ext cx="490519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prstClr val="white">
                    <a:lumMod val="50000"/>
                  </a:prstClr>
                </a:solidFill>
              </a:rPr>
              <a:t>Creator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538163" y="5290512"/>
            <a:ext cx="750205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prstClr val="white">
                    <a:lumMod val="50000"/>
                  </a:prstClr>
                </a:solidFill>
              </a:rPr>
              <a:t>Approved by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538164" y="5457742"/>
            <a:ext cx="2646362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Name and telephon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363912" y="5071519"/>
            <a:ext cx="2641601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Version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538164" y="5076239"/>
            <a:ext cx="2646362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 baseline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Name and telephon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1793875"/>
            <a:ext cx="5467350" cy="2719388"/>
          </a:xfrm>
        </p:spPr>
        <p:txBody>
          <a:bodyPr tIns="36000" rIns="180000" anchor="t">
            <a:noAutofit/>
          </a:bodyPr>
          <a:lstStyle>
            <a:lvl1pPr algn="l">
              <a:lnSpc>
                <a:spcPct val="85000"/>
              </a:lnSpc>
              <a:defRPr sz="600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5" name="Date Placeholder 2"/>
          <p:cNvSpPr>
            <a:spLocks noGrp="1"/>
          </p:cNvSpPr>
          <p:nvPr>
            <p:ph type="dt" sz="half" idx="14"/>
          </p:nvPr>
        </p:nvSpPr>
        <p:spPr>
          <a:xfrm>
            <a:off x="538163" y="6421919"/>
            <a:ext cx="828000" cy="153888"/>
          </a:xfrm>
        </p:spPr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sv-SE" dirty="0">
              <a:solidFill>
                <a:prstClr val="black"/>
              </a:solidFill>
            </a:endParaRPr>
          </a:p>
        </p:txBody>
      </p:sp>
      <p:sp>
        <p:nvSpPr>
          <p:cNvPr id="36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6184901" y="1"/>
            <a:ext cx="6007100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 dirty="0"/>
          </a:p>
        </p:txBody>
      </p:sp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725" y="165237"/>
            <a:ext cx="4258798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281362"/>
      </p:ext>
    </p:extLst>
  </p:cSld>
  <p:clrMapOvr>
    <a:masterClrMapping/>
  </p:clrMapOvr>
  <p:transition>
    <p:fade/>
  </p:transition>
  <p:hf sldNum="0"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1793875"/>
            <a:ext cx="8291512" cy="2719388"/>
          </a:xfrm>
        </p:spPr>
        <p:txBody>
          <a:bodyPr tIns="36000" rIns="180000" anchor="t">
            <a:noAutofit/>
          </a:bodyPr>
          <a:lstStyle>
            <a:lvl1pPr algn="l">
              <a:lnSpc>
                <a:spcPct val="85000"/>
              </a:lnSpc>
              <a:defRPr sz="600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163" y="4689476"/>
            <a:ext cx="5467350" cy="1271587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4"/>
          </p:nvPr>
        </p:nvSpPr>
        <p:spPr>
          <a:xfrm>
            <a:off x="538163" y="6421919"/>
            <a:ext cx="828000" cy="153888"/>
          </a:xfrm>
        </p:spPr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sv-S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2110483"/>
      </p:ext>
    </p:extLst>
  </p:cSld>
  <p:clrMapOvr>
    <a:masterClrMapping/>
  </p:clrMapOvr>
  <p:transition>
    <p:fade/>
  </p:transition>
  <p:hf sldNum="0"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</a:t>
            </a:r>
            <a:r>
              <a:rPr lang="en-US" dirty="0" err="1"/>
              <a:t>TIT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38163" y="1793875"/>
            <a:ext cx="11114087" cy="41671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37816195"/>
      </p:ext>
    </p:extLst>
  </p:cSld>
  <p:clrMapOvr>
    <a:masterClrMapping/>
  </p:clrMapOvr>
  <p:transition>
    <p:fade/>
  </p:transition>
  <p:hf sldNum="0"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538162" y="538163"/>
            <a:ext cx="8291513" cy="3975100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162" y="4689476"/>
            <a:ext cx="8291513" cy="1271588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>
                <a:solidFill>
                  <a:prstClr val="white"/>
                </a:solidFill>
              </a:rPr>
              <a:t>yyyy-mm-dd</a:t>
            </a:r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smtClean="0">
                <a:solidFill>
                  <a:prstClr val="white"/>
                </a:solidFill>
              </a:rPr>
              <a:t>Confidential</a:t>
            </a:r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2D7E8A-A0E3-4239-9A38-4F8DCAE2A924}" type="slidenum">
              <a:rPr lang="sv-SE" smtClean="0">
                <a:solidFill>
                  <a:prstClr val="white"/>
                </a:solidFill>
              </a:rPr>
              <a:pPr/>
              <a:t>‹#›</a:t>
            </a:fld>
            <a:endParaRPr lang="sv-S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1318715"/>
      </p:ext>
    </p:extLst>
  </p:cSld>
  <p:clrMapOvr>
    <a:masterClrMapping/>
  </p:clrMapOvr>
  <p:transition>
    <p:fade/>
  </p:transition>
  <p:hf sldNum="0"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ebbl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538164" y="538164"/>
            <a:ext cx="5467350" cy="2527299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61352"/>
      </p:ext>
    </p:extLst>
  </p:cSld>
  <p:clrMapOvr>
    <a:masterClrMapping/>
  </p:clrMapOvr>
  <p:transition>
    <p:fade/>
  </p:transition>
  <p:hf sldNum="0"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ebbl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38164" y="538164"/>
            <a:ext cx="5467350" cy="2527299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3115005"/>
      </p:ext>
    </p:extLst>
  </p:cSld>
  <p:clrMapOvr>
    <a:masterClrMapping/>
  </p:clrMapOvr>
  <p:transition>
    <p:fade/>
  </p:transition>
  <p:hf sldNum="0"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ebble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38164" y="538164"/>
            <a:ext cx="5467350" cy="2527299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3654503"/>
      </p:ext>
    </p:extLst>
  </p:cSld>
  <p:clrMapOvr>
    <a:masterClrMapping/>
  </p:clrMapOvr>
  <p:transition>
    <p:fade/>
  </p:transition>
  <p:hf sldNum="0"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Rippl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 bwMode="invGray">
          <a:xfrm>
            <a:off x="-1057" y="1"/>
            <a:ext cx="12193057" cy="6858000"/>
            <a:chOff x="-1057" y="1"/>
            <a:chExt cx="12193057" cy="6858000"/>
          </a:xfrm>
        </p:grpSpPr>
        <p:sp>
          <p:nvSpPr>
            <p:cNvPr id="25" name="Freeform 24"/>
            <p:cNvSpPr>
              <a:spLocks/>
            </p:cNvSpPr>
            <p:nvPr userDrawn="1"/>
          </p:nvSpPr>
          <p:spPr bwMode="invGray">
            <a:xfrm>
              <a:off x="-1057" y="1"/>
              <a:ext cx="8691601" cy="3871890"/>
            </a:xfrm>
            <a:custGeom>
              <a:avLst/>
              <a:gdLst>
                <a:gd name="connsiteX0" fmla="*/ 4206316 w 8691601"/>
                <a:gd name="connsiteY0" fmla="*/ 0 h 3871890"/>
                <a:gd name="connsiteX1" fmla="*/ 5697461 w 8691601"/>
                <a:gd name="connsiteY1" fmla="*/ 0 h 3871890"/>
                <a:gd name="connsiteX2" fmla="*/ 5876669 w 8691601"/>
                <a:gd name="connsiteY2" fmla="*/ 0 h 3871890"/>
                <a:gd name="connsiteX3" fmla="*/ 5814491 w 8691601"/>
                <a:gd name="connsiteY3" fmla="*/ 33052 h 3871890"/>
                <a:gd name="connsiteX4" fmla="*/ 5876679 w 8691601"/>
                <a:gd name="connsiteY4" fmla="*/ 0 h 3871890"/>
                <a:gd name="connsiteX5" fmla="*/ 8527609 w 8691601"/>
                <a:gd name="connsiteY5" fmla="*/ 0 h 3871890"/>
                <a:gd name="connsiteX6" fmla="*/ 8691601 w 8691601"/>
                <a:gd name="connsiteY6" fmla="*/ 0 h 3871890"/>
                <a:gd name="connsiteX7" fmla="*/ 5144630 w 8691601"/>
                <a:gd name="connsiteY7" fmla="*/ 2017103 h 3871890"/>
                <a:gd name="connsiteX8" fmla="*/ 0 w 8691601"/>
                <a:gd name="connsiteY8" fmla="*/ 3871890 h 3871890"/>
                <a:gd name="connsiteX9" fmla="*/ 0 w 8691601"/>
                <a:gd name="connsiteY9" fmla="*/ 3778897 h 3871890"/>
                <a:gd name="connsiteX10" fmla="*/ 0 w 8691601"/>
                <a:gd name="connsiteY10" fmla="*/ 2506118 h 3871890"/>
                <a:gd name="connsiteX11" fmla="*/ 0 w 8691601"/>
                <a:gd name="connsiteY11" fmla="*/ 2379288 h 3871890"/>
                <a:gd name="connsiteX12" fmla="*/ 0 w 8691601"/>
                <a:gd name="connsiteY12" fmla="*/ 2378930 h 3871890"/>
                <a:gd name="connsiteX13" fmla="*/ 0 w 8691601"/>
                <a:gd name="connsiteY13" fmla="*/ 2377888 h 3871890"/>
                <a:gd name="connsiteX14" fmla="*/ 0 w 8691601"/>
                <a:gd name="connsiteY14" fmla="*/ 2289663 h 3871890"/>
                <a:gd name="connsiteX15" fmla="*/ 0 w 8691601"/>
                <a:gd name="connsiteY15" fmla="*/ 1582810 h 3871890"/>
                <a:gd name="connsiteX16" fmla="*/ 3846209 w 8691601"/>
                <a:gd name="connsiteY16" fmla="*/ 174177 h 3871890"/>
                <a:gd name="connsiteX17" fmla="*/ 4206316 w 8691601"/>
                <a:gd name="connsiteY17" fmla="*/ 0 h 3871890"/>
                <a:gd name="connsiteX18" fmla="*/ 0 w 8691601"/>
                <a:gd name="connsiteY18" fmla="*/ 0 h 3871890"/>
                <a:gd name="connsiteX19" fmla="*/ 4008300 w 8691601"/>
                <a:gd name="connsiteY19" fmla="*/ 0 h 3871890"/>
                <a:gd name="connsiteX20" fmla="*/ 4206095 w 8691601"/>
                <a:gd name="connsiteY20" fmla="*/ 0 h 3871890"/>
                <a:gd name="connsiteX21" fmla="*/ 3846008 w 8691601"/>
                <a:gd name="connsiteY21" fmla="*/ 174167 h 3871890"/>
                <a:gd name="connsiteX22" fmla="*/ 0 w 8691601"/>
                <a:gd name="connsiteY22" fmla="*/ 1582720 h 3871890"/>
                <a:gd name="connsiteX23" fmla="*/ 0 w 8691601"/>
                <a:gd name="connsiteY23" fmla="*/ 1494791 h 3871890"/>
                <a:gd name="connsiteX24" fmla="*/ 0 w 8691601"/>
                <a:gd name="connsiteY24" fmla="*/ 0 h 38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691601" h="3871890">
                  <a:moveTo>
                    <a:pt x="4206316" y="0"/>
                  </a:moveTo>
                  <a:cubicBezTo>
                    <a:pt x="4206316" y="0"/>
                    <a:pt x="4206316" y="0"/>
                    <a:pt x="5697461" y="0"/>
                  </a:cubicBezTo>
                  <a:lnTo>
                    <a:pt x="5876669" y="0"/>
                  </a:lnTo>
                  <a:lnTo>
                    <a:pt x="5814491" y="33052"/>
                  </a:lnTo>
                  <a:lnTo>
                    <a:pt x="5876679" y="0"/>
                  </a:lnTo>
                  <a:cubicBezTo>
                    <a:pt x="5876679" y="0"/>
                    <a:pt x="5876679" y="0"/>
                    <a:pt x="8527609" y="0"/>
                  </a:cubicBezTo>
                  <a:lnTo>
                    <a:pt x="8691601" y="0"/>
                  </a:lnTo>
                  <a:cubicBezTo>
                    <a:pt x="7673834" y="705056"/>
                    <a:pt x="6463332" y="1399967"/>
                    <a:pt x="5144630" y="2017103"/>
                  </a:cubicBezTo>
                  <a:cubicBezTo>
                    <a:pt x="3220677" y="2919980"/>
                    <a:pt x="1460717" y="3550642"/>
                    <a:pt x="0" y="3871890"/>
                  </a:cubicBezTo>
                  <a:cubicBezTo>
                    <a:pt x="0" y="3871890"/>
                    <a:pt x="0" y="3871890"/>
                    <a:pt x="0" y="3778897"/>
                  </a:cubicBezTo>
                  <a:cubicBezTo>
                    <a:pt x="0" y="3778897"/>
                    <a:pt x="0" y="3778897"/>
                    <a:pt x="0" y="2506118"/>
                  </a:cubicBezTo>
                  <a:lnTo>
                    <a:pt x="0" y="2379288"/>
                  </a:lnTo>
                  <a:lnTo>
                    <a:pt x="0" y="2378930"/>
                  </a:lnTo>
                  <a:lnTo>
                    <a:pt x="0" y="2377888"/>
                  </a:lnTo>
                  <a:cubicBezTo>
                    <a:pt x="0" y="2373687"/>
                    <a:pt x="0" y="2356882"/>
                    <a:pt x="0" y="2289663"/>
                  </a:cubicBezTo>
                  <a:cubicBezTo>
                    <a:pt x="0" y="2289663"/>
                    <a:pt x="0" y="2289663"/>
                    <a:pt x="0" y="1582810"/>
                  </a:cubicBezTo>
                  <a:cubicBezTo>
                    <a:pt x="1107370" y="1325772"/>
                    <a:pt x="2434524" y="842136"/>
                    <a:pt x="3846209" y="174177"/>
                  </a:cubicBezTo>
                  <a:cubicBezTo>
                    <a:pt x="3967935" y="116682"/>
                    <a:pt x="4087971" y="59186"/>
                    <a:pt x="4206316" y="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4008300" y="0"/>
                  </a:cubicBezTo>
                  <a:lnTo>
                    <a:pt x="4206095" y="0"/>
                  </a:lnTo>
                  <a:cubicBezTo>
                    <a:pt x="4087756" y="59183"/>
                    <a:pt x="3967727" y="116675"/>
                    <a:pt x="3846008" y="174167"/>
                  </a:cubicBezTo>
                  <a:cubicBezTo>
                    <a:pt x="2434396" y="842088"/>
                    <a:pt x="1107312" y="1325697"/>
                    <a:pt x="0" y="1582720"/>
                  </a:cubicBezTo>
                  <a:cubicBezTo>
                    <a:pt x="0" y="1582720"/>
                    <a:pt x="0" y="1582720"/>
                    <a:pt x="0" y="1494791"/>
                  </a:cubicBezTo>
                  <a:cubicBezTo>
                    <a:pt x="0" y="1494791"/>
                    <a:pt x="0" y="1494791"/>
                    <a:pt x="0" y="0"/>
                  </a:cubicBezTo>
                  <a:close/>
                </a:path>
              </a:pathLst>
            </a:custGeom>
            <a:solidFill>
              <a:srgbClr val="FF32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grpSp>
          <p:nvGrpSpPr>
            <p:cNvPr id="26" name="Group 25"/>
            <p:cNvGrpSpPr/>
            <p:nvPr userDrawn="1"/>
          </p:nvGrpSpPr>
          <p:grpSpPr bwMode="invGray">
            <a:xfrm>
              <a:off x="-1057" y="1"/>
              <a:ext cx="12193057" cy="6858000"/>
              <a:chOff x="19354800" y="-13931900"/>
              <a:chExt cx="42743438" cy="24041101"/>
            </a:xfrm>
          </p:grpSpPr>
          <p:sp>
            <p:nvSpPr>
              <p:cNvPr id="27" name="Freeform 31"/>
              <p:cNvSpPr>
                <a:spLocks/>
              </p:cNvSpPr>
              <p:nvPr userDrawn="1"/>
            </p:nvSpPr>
            <p:spPr bwMode="invGray">
              <a:xfrm>
                <a:off x="53789263" y="3417888"/>
                <a:ext cx="8308975" cy="6691313"/>
              </a:xfrm>
              <a:custGeom>
                <a:avLst/>
                <a:gdLst>
                  <a:gd name="T0" fmla="*/ 0 w 1402"/>
                  <a:gd name="T1" fmla="*/ 1129 h 1129"/>
                  <a:gd name="T2" fmla="*/ 1402 w 1402"/>
                  <a:gd name="T3" fmla="*/ 1129 h 1129"/>
                  <a:gd name="T4" fmla="*/ 1402 w 1402"/>
                  <a:gd name="T5" fmla="*/ 0 h 1129"/>
                  <a:gd name="T6" fmla="*/ 0 w 1402"/>
                  <a:gd name="T7" fmla="*/ 1129 h 1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02" h="1129">
                    <a:moveTo>
                      <a:pt x="0" y="1129"/>
                    </a:moveTo>
                    <a:cubicBezTo>
                      <a:pt x="1402" y="1129"/>
                      <a:pt x="1402" y="1129"/>
                      <a:pt x="1402" y="1129"/>
                    </a:cubicBezTo>
                    <a:cubicBezTo>
                      <a:pt x="1402" y="0"/>
                      <a:pt x="1402" y="0"/>
                      <a:pt x="1402" y="0"/>
                    </a:cubicBezTo>
                    <a:cubicBezTo>
                      <a:pt x="1011" y="387"/>
                      <a:pt x="540" y="767"/>
                      <a:pt x="0" y="1129"/>
                    </a:cubicBezTo>
                    <a:close/>
                  </a:path>
                </a:pathLst>
              </a:custGeom>
              <a:solidFill>
                <a:srgbClr val="CEFF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8" name="Freeform 32"/>
              <p:cNvSpPr>
                <a:spLocks/>
              </p:cNvSpPr>
              <p:nvPr userDrawn="1"/>
            </p:nvSpPr>
            <p:spPr bwMode="invGray">
              <a:xfrm>
                <a:off x="37982525" y="-5076825"/>
                <a:ext cx="24115713" cy="15186025"/>
              </a:xfrm>
              <a:custGeom>
                <a:avLst/>
                <a:gdLst>
                  <a:gd name="T0" fmla="*/ 1741 w 4069"/>
                  <a:gd name="T1" fmla="*/ 1684 h 2562"/>
                  <a:gd name="T2" fmla="*/ 0 w 4069"/>
                  <a:gd name="T3" fmla="*/ 2562 h 2562"/>
                  <a:gd name="T4" fmla="*/ 2573 w 4069"/>
                  <a:gd name="T5" fmla="*/ 2562 h 2562"/>
                  <a:gd name="T6" fmla="*/ 2667 w 4069"/>
                  <a:gd name="T7" fmla="*/ 2562 h 2562"/>
                  <a:gd name="T8" fmla="*/ 4069 w 4069"/>
                  <a:gd name="T9" fmla="*/ 1433 h 2562"/>
                  <a:gd name="T10" fmla="*/ 4069 w 4069"/>
                  <a:gd name="T11" fmla="*/ 1362 h 2562"/>
                  <a:gd name="T12" fmla="*/ 4069 w 4069"/>
                  <a:gd name="T13" fmla="*/ 0 h 2562"/>
                  <a:gd name="T14" fmla="*/ 1741 w 4069"/>
                  <a:gd name="T15" fmla="*/ 1684 h 25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069" h="2562">
                    <a:moveTo>
                      <a:pt x="1741" y="1684"/>
                    </a:moveTo>
                    <a:cubicBezTo>
                      <a:pt x="1151" y="2023"/>
                      <a:pt x="566" y="2317"/>
                      <a:pt x="0" y="2562"/>
                    </a:cubicBezTo>
                    <a:cubicBezTo>
                      <a:pt x="2573" y="2562"/>
                      <a:pt x="2573" y="2562"/>
                      <a:pt x="2573" y="2562"/>
                    </a:cubicBezTo>
                    <a:cubicBezTo>
                      <a:pt x="2667" y="2562"/>
                      <a:pt x="2667" y="2562"/>
                      <a:pt x="2667" y="2562"/>
                    </a:cubicBezTo>
                    <a:cubicBezTo>
                      <a:pt x="3207" y="2200"/>
                      <a:pt x="3678" y="1820"/>
                      <a:pt x="4069" y="1433"/>
                    </a:cubicBezTo>
                    <a:cubicBezTo>
                      <a:pt x="4069" y="1362"/>
                      <a:pt x="4069" y="1362"/>
                      <a:pt x="4069" y="1362"/>
                    </a:cubicBezTo>
                    <a:cubicBezTo>
                      <a:pt x="4069" y="0"/>
                      <a:pt x="4069" y="0"/>
                      <a:pt x="4069" y="0"/>
                    </a:cubicBezTo>
                    <a:cubicBezTo>
                      <a:pt x="3487" y="562"/>
                      <a:pt x="2705" y="1130"/>
                      <a:pt x="1741" y="1684"/>
                    </a:cubicBezTo>
                    <a:close/>
                  </a:path>
                </a:pathLst>
              </a:custGeom>
              <a:solidFill>
                <a:srgbClr val="990A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9" name="Freeform 33"/>
              <p:cNvSpPr>
                <a:spLocks/>
              </p:cNvSpPr>
              <p:nvPr userDrawn="1"/>
            </p:nvSpPr>
            <p:spPr bwMode="invGray">
              <a:xfrm>
                <a:off x="31610300" y="-7500938"/>
                <a:ext cx="30487938" cy="17610138"/>
              </a:xfrm>
              <a:custGeom>
                <a:avLst/>
                <a:gdLst>
                  <a:gd name="T0" fmla="*/ 2574 w 5144"/>
                  <a:gd name="T1" fmla="*/ 1825 h 2971"/>
                  <a:gd name="T2" fmla="*/ 0 w 5144"/>
                  <a:gd name="T3" fmla="*/ 2971 h 2971"/>
                  <a:gd name="T4" fmla="*/ 945 w 5144"/>
                  <a:gd name="T5" fmla="*/ 2971 h 2971"/>
                  <a:gd name="T6" fmla="*/ 1075 w 5144"/>
                  <a:gd name="T7" fmla="*/ 2971 h 2971"/>
                  <a:gd name="T8" fmla="*/ 2816 w 5144"/>
                  <a:gd name="T9" fmla="*/ 2093 h 2971"/>
                  <a:gd name="T10" fmla="*/ 5144 w 5144"/>
                  <a:gd name="T11" fmla="*/ 409 h 2971"/>
                  <a:gd name="T12" fmla="*/ 5144 w 5144"/>
                  <a:gd name="T13" fmla="*/ 340 h 2971"/>
                  <a:gd name="T14" fmla="*/ 5144 w 5144"/>
                  <a:gd name="T15" fmla="*/ 0 h 2971"/>
                  <a:gd name="T16" fmla="*/ 2574 w 5144"/>
                  <a:gd name="T17" fmla="*/ 1825 h 2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44" h="2971">
                    <a:moveTo>
                      <a:pt x="2574" y="1825"/>
                    </a:moveTo>
                    <a:cubicBezTo>
                      <a:pt x="1667" y="2308"/>
                      <a:pt x="799" y="2694"/>
                      <a:pt x="0" y="2971"/>
                    </a:cubicBezTo>
                    <a:cubicBezTo>
                      <a:pt x="945" y="2971"/>
                      <a:pt x="945" y="2971"/>
                      <a:pt x="945" y="2971"/>
                    </a:cubicBezTo>
                    <a:cubicBezTo>
                      <a:pt x="1075" y="2971"/>
                      <a:pt x="1075" y="2971"/>
                      <a:pt x="1075" y="2971"/>
                    </a:cubicBezTo>
                    <a:cubicBezTo>
                      <a:pt x="1641" y="2726"/>
                      <a:pt x="2226" y="2432"/>
                      <a:pt x="2816" y="2093"/>
                    </a:cubicBezTo>
                    <a:cubicBezTo>
                      <a:pt x="3780" y="1539"/>
                      <a:pt x="4562" y="971"/>
                      <a:pt x="5144" y="409"/>
                    </a:cubicBezTo>
                    <a:cubicBezTo>
                      <a:pt x="5144" y="340"/>
                      <a:pt x="5144" y="340"/>
                      <a:pt x="5144" y="340"/>
                    </a:cubicBezTo>
                    <a:cubicBezTo>
                      <a:pt x="5144" y="0"/>
                      <a:pt x="5144" y="0"/>
                      <a:pt x="5144" y="0"/>
                    </a:cubicBezTo>
                    <a:cubicBezTo>
                      <a:pt x="4517" y="627"/>
                      <a:pt x="3642" y="1256"/>
                      <a:pt x="2574" y="1825"/>
                    </a:cubicBezTo>
                    <a:close/>
                  </a:path>
                </a:pathLst>
              </a:custGeom>
              <a:solidFill>
                <a:srgbClr val="993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5" name="Freeform 34"/>
              <p:cNvSpPr>
                <a:spLocks/>
              </p:cNvSpPr>
              <p:nvPr userDrawn="1"/>
            </p:nvSpPr>
            <p:spPr bwMode="invGray">
              <a:xfrm>
                <a:off x="19354800" y="-13931900"/>
                <a:ext cx="42743438" cy="24041101"/>
              </a:xfrm>
              <a:custGeom>
                <a:avLst/>
                <a:gdLst>
                  <a:gd name="T0" fmla="*/ 5141 w 7212"/>
                  <a:gd name="T1" fmla="*/ 0 h 4056"/>
                  <a:gd name="T2" fmla="*/ 3043 w 7212"/>
                  <a:gd name="T3" fmla="*/ 1193 h 4056"/>
                  <a:gd name="T4" fmla="*/ 0 w 7212"/>
                  <a:gd name="T5" fmla="*/ 2290 h 4056"/>
                  <a:gd name="T6" fmla="*/ 0 w 7212"/>
                  <a:gd name="T7" fmla="*/ 4056 h 4056"/>
                  <a:gd name="T8" fmla="*/ 1910 w 7212"/>
                  <a:gd name="T9" fmla="*/ 4056 h 4056"/>
                  <a:gd name="T10" fmla="*/ 2068 w 7212"/>
                  <a:gd name="T11" fmla="*/ 4056 h 4056"/>
                  <a:gd name="T12" fmla="*/ 4642 w 7212"/>
                  <a:gd name="T13" fmla="*/ 2910 h 4056"/>
                  <a:gd name="T14" fmla="*/ 7212 w 7212"/>
                  <a:gd name="T15" fmla="*/ 1085 h 4056"/>
                  <a:gd name="T16" fmla="*/ 7212 w 7212"/>
                  <a:gd name="T17" fmla="*/ 1015 h 4056"/>
                  <a:gd name="T18" fmla="*/ 7212 w 7212"/>
                  <a:gd name="T19" fmla="*/ 0 h 4056"/>
                  <a:gd name="T20" fmla="*/ 5141 w 7212"/>
                  <a:gd name="T21" fmla="*/ 0 h 4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12" h="4056">
                    <a:moveTo>
                      <a:pt x="5141" y="0"/>
                    </a:moveTo>
                    <a:cubicBezTo>
                      <a:pt x="4539" y="417"/>
                      <a:pt x="3823" y="828"/>
                      <a:pt x="3043" y="1193"/>
                    </a:cubicBezTo>
                    <a:cubicBezTo>
                      <a:pt x="1905" y="1727"/>
                      <a:pt x="864" y="2100"/>
                      <a:pt x="0" y="2290"/>
                    </a:cubicBezTo>
                    <a:cubicBezTo>
                      <a:pt x="0" y="4056"/>
                      <a:pt x="0" y="4056"/>
                      <a:pt x="0" y="4056"/>
                    </a:cubicBezTo>
                    <a:cubicBezTo>
                      <a:pt x="1910" y="4056"/>
                      <a:pt x="1910" y="4056"/>
                      <a:pt x="1910" y="4056"/>
                    </a:cubicBezTo>
                    <a:cubicBezTo>
                      <a:pt x="2068" y="4056"/>
                      <a:pt x="2068" y="4056"/>
                      <a:pt x="2068" y="4056"/>
                    </a:cubicBezTo>
                    <a:cubicBezTo>
                      <a:pt x="2867" y="3779"/>
                      <a:pt x="3735" y="3393"/>
                      <a:pt x="4642" y="2910"/>
                    </a:cubicBezTo>
                    <a:cubicBezTo>
                      <a:pt x="5710" y="2341"/>
                      <a:pt x="6585" y="1712"/>
                      <a:pt x="7212" y="1085"/>
                    </a:cubicBezTo>
                    <a:cubicBezTo>
                      <a:pt x="7212" y="1015"/>
                      <a:pt x="7212" y="1015"/>
                      <a:pt x="7212" y="1015"/>
                    </a:cubicBezTo>
                    <a:cubicBezTo>
                      <a:pt x="7212" y="0"/>
                      <a:pt x="7212" y="0"/>
                      <a:pt x="7212" y="0"/>
                    </a:cubicBezTo>
                    <a:lnTo>
                      <a:pt x="5141" y="0"/>
                    </a:lnTo>
                    <a:close/>
                  </a:path>
                </a:pathLst>
              </a:custGeom>
              <a:solidFill>
                <a:srgbClr val="990A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8" name="Freeform 36"/>
              <p:cNvSpPr>
                <a:spLocks/>
              </p:cNvSpPr>
              <p:nvPr userDrawn="1"/>
            </p:nvSpPr>
            <p:spPr bwMode="invGray">
              <a:xfrm>
                <a:off x="19354800" y="-13931900"/>
                <a:ext cx="20600988" cy="8340725"/>
              </a:xfrm>
              <a:custGeom>
                <a:avLst/>
                <a:gdLst>
                  <a:gd name="T0" fmla="*/ 3370 w 3476"/>
                  <a:gd name="T1" fmla="*/ 0 h 1407"/>
                  <a:gd name="T2" fmla="*/ 2488 w 3476"/>
                  <a:gd name="T3" fmla="*/ 0 h 1407"/>
                  <a:gd name="T4" fmla="*/ 2275 w 3476"/>
                  <a:gd name="T5" fmla="*/ 103 h 1407"/>
                  <a:gd name="T6" fmla="*/ 0 w 3476"/>
                  <a:gd name="T7" fmla="*/ 936 h 1407"/>
                  <a:gd name="T8" fmla="*/ 0 w 3476"/>
                  <a:gd name="T9" fmla="*/ 1354 h 1407"/>
                  <a:gd name="T10" fmla="*/ 0 w 3476"/>
                  <a:gd name="T11" fmla="*/ 1407 h 1407"/>
                  <a:gd name="T12" fmla="*/ 2593 w 3476"/>
                  <a:gd name="T13" fmla="*/ 451 h 1407"/>
                  <a:gd name="T14" fmla="*/ 3476 w 3476"/>
                  <a:gd name="T15" fmla="*/ 0 h 1407"/>
                  <a:gd name="T16" fmla="*/ 3370 w 3476"/>
                  <a:gd name="T17" fmla="*/ 0 h 14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76" h="1407">
                    <a:moveTo>
                      <a:pt x="3370" y="0"/>
                    </a:moveTo>
                    <a:cubicBezTo>
                      <a:pt x="2488" y="0"/>
                      <a:pt x="2488" y="0"/>
                      <a:pt x="2488" y="0"/>
                    </a:cubicBezTo>
                    <a:cubicBezTo>
                      <a:pt x="2418" y="35"/>
                      <a:pt x="2347" y="69"/>
                      <a:pt x="2275" y="103"/>
                    </a:cubicBezTo>
                    <a:cubicBezTo>
                      <a:pt x="1440" y="498"/>
                      <a:pt x="655" y="784"/>
                      <a:pt x="0" y="936"/>
                    </a:cubicBezTo>
                    <a:cubicBezTo>
                      <a:pt x="0" y="1354"/>
                      <a:pt x="0" y="1354"/>
                      <a:pt x="0" y="1354"/>
                    </a:cubicBezTo>
                    <a:cubicBezTo>
                      <a:pt x="0" y="1407"/>
                      <a:pt x="0" y="1407"/>
                      <a:pt x="0" y="1407"/>
                    </a:cubicBezTo>
                    <a:cubicBezTo>
                      <a:pt x="732" y="1235"/>
                      <a:pt x="1618" y="910"/>
                      <a:pt x="2593" y="451"/>
                    </a:cubicBezTo>
                    <a:cubicBezTo>
                      <a:pt x="2900" y="306"/>
                      <a:pt x="3196" y="155"/>
                      <a:pt x="3476" y="0"/>
                    </a:cubicBezTo>
                    <a:lnTo>
                      <a:pt x="3370" y="0"/>
                    </a:lnTo>
                    <a:close/>
                  </a:path>
                </a:pathLst>
              </a:custGeom>
              <a:solidFill>
                <a:srgbClr val="E123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9" name="Freeform 37"/>
              <p:cNvSpPr>
                <a:spLocks/>
              </p:cNvSpPr>
              <p:nvPr userDrawn="1"/>
            </p:nvSpPr>
            <p:spPr bwMode="invGray">
              <a:xfrm>
                <a:off x="19354800" y="-13931900"/>
                <a:ext cx="14744700" cy="5548313"/>
              </a:xfrm>
              <a:custGeom>
                <a:avLst/>
                <a:gdLst>
                  <a:gd name="T0" fmla="*/ 2371 w 2488"/>
                  <a:gd name="T1" fmla="*/ 0 h 936"/>
                  <a:gd name="T2" fmla="*/ 0 w 2488"/>
                  <a:gd name="T3" fmla="*/ 0 h 936"/>
                  <a:gd name="T4" fmla="*/ 0 w 2488"/>
                  <a:gd name="T5" fmla="*/ 884 h 936"/>
                  <a:gd name="T6" fmla="*/ 0 w 2488"/>
                  <a:gd name="T7" fmla="*/ 936 h 936"/>
                  <a:gd name="T8" fmla="*/ 2275 w 2488"/>
                  <a:gd name="T9" fmla="*/ 103 h 936"/>
                  <a:gd name="T10" fmla="*/ 2488 w 2488"/>
                  <a:gd name="T11" fmla="*/ 0 h 936"/>
                  <a:gd name="T12" fmla="*/ 2371 w 2488"/>
                  <a:gd name="T13" fmla="*/ 0 h 9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88" h="936">
                    <a:moveTo>
                      <a:pt x="237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84"/>
                      <a:pt x="0" y="884"/>
                      <a:pt x="0" y="884"/>
                    </a:cubicBezTo>
                    <a:cubicBezTo>
                      <a:pt x="0" y="936"/>
                      <a:pt x="0" y="936"/>
                      <a:pt x="0" y="936"/>
                    </a:cubicBezTo>
                    <a:cubicBezTo>
                      <a:pt x="655" y="784"/>
                      <a:pt x="1440" y="498"/>
                      <a:pt x="2275" y="103"/>
                    </a:cubicBezTo>
                    <a:cubicBezTo>
                      <a:pt x="2347" y="69"/>
                      <a:pt x="2418" y="35"/>
                      <a:pt x="2488" y="0"/>
                    </a:cubicBezTo>
                    <a:lnTo>
                      <a:pt x="2371" y="0"/>
                    </a:lnTo>
                    <a:close/>
                  </a:path>
                </a:pathLst>
              </a:custGeom>
              <a:solidFill>
                <a:srgbClr val="FF32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538164"/>
            <a:ext cx="8291511" cy="3975099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 dirty="0" err="1"/>
              <a:t>TO</a:t>
            </a:r>
            <a:r>
              <a:rPr lang="en-US" dirty="0"/>
              <a:t>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3119217"/>
      </p:ext>
    </p:extLst>
  </p:cSld>
  <p:clrMapOvr>
    <a:masterClrMapping/>
  </p:clrMapOvr>
  <p:transition>
    <p:fade/>
  </p:transition>
  <p:hf sldNum="0"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Rippl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 userDrawn="1"/>
        </p:nvGrpSpPr>
        <p:grpSpPr bwMode="invGray">
          <a:xfrm>
            <a:off x="-1" y="0"/>
            <a:ext cx="12193477" cy="6858000"/>
            <a:chOff x="-21582063" y="-12138025"/>
            <a:chExt cx="55356126" cy="31134050"/>
          </a:xfrm>
        </p:grpSpPr>
        <p:sp>
          <p:nvSpPr>
            <p:cNvPr id="16" name="Freeform 70"/>
            <p:cNvSpPr>
              <a:spLocks/>
            </p:cNvSpPr>
            <p:nvPr userDrawn="1"/>
          </p:nvSpPr>
          <p:spPr bwMode="invGray">
            <a:xfrm>
              <a:off x="25909588" y="12830175"/>
              <a:ext cx="7864475" cy="6165850"/>
            </a:xfrm>
            <a:custGeom>
              <a:avLst/>
              <a:gdLst>
                <a:gd name="T0" fmla="*/ 597 w 597"/>
                <a:gd name="T1" fmla="*/ 468 h 468"/>
                <a:gd name="T2" fmla="*/ 597 w 597"/>
                <a:gd name="T3" fmla="*/ 0 h 468"/>
                <a:gd name="T4" fmla="*/ 0 w 597"/>
                <a:gd name="T5" fmla="*/ 468 h 468"/>
                <a:gd name="T6" fmla="*/ 597 w 597"/>
                <a:gd name="T7" fmla="*/ 468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7" h="468">
                  <a:moveTo>
                    <a:pt x="597" y="468"/>
                  </a:moveTo>
                  <a:cubicBezTo>
                    <a:pt x="597" y="0"/>
                    <a:pt x="597" y="0"/>
                    <a:pt x="597" y="0"/>
                  </a:cubicBezTo>
                  <a:cubicBezTo>
                    <a:pt x="444" y="147"/>
                    <a:pt x="254" y="295"/>
                    <a:pt x="0" y="468"/>
                  </a:cubicBezTo>
                  <a:lnTo>
                    <a:pt x="597" y="468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71"/>
            <p:cNvSpPr>
              <a:spLocks/>
            </p:cNvSpPr>
            <p:nvPr userDrawn="1"/>
          </p:nvSpPr>
          <p:spPr bwMode="invGray">
            <a:xfrm>
              <a:off x="1657350" y="-1136650"/>
              <a:ext cx="32116713" cy="20132675"/>
            </a:xfrm>
            <a:custGeom>
              <a:avLst/>
              <a:gdLst>
                <a:gd name="T0" fmla="*/ 0 w 2438"/>
                <a:gd name="T1" fmla="*/ 1528 h 1528"/>
                <a:gd name="T2" fmla="*/ 1841 w 2438"/>
                <a:gd name="T3" fmla="*/ 1528 h 1528"/>
                <a:gd name="T4" fmla="*/ 2438 w 2438"/>
                <a:gd name="T5" fmla="*/ 1060 h 1528"/>
                <a:gd name="T6" fmla="*/ 2438 w 2438"/>
                <a:gd name="T7" fmla="*/ 0 h 1528"/>
                <a:gd name="T8" fmla="*/ 1070 w 2438"/>
                <a:gd name="T9" fmla="*/ 993 h 1528"/>
                <a:gd name="T10" fmla="*/ 0 w 2438"/>
                <a:gd name="T11" fmla="*/ 1528 h 1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38" h="1528">
                  <a:moveTo>
                    <a:pt x="0" y="1528"/>
                  </a:moveTo>
                  <a:cubicBezTo>
                    <a:pt x="1841" y="1528"/>
                    <a:pt x="1841" y="1528"/>
                    <a:pt x="1841" y="1528"/>
                  </a:cubicBezTo>
                  <a:cubicBezTo>
                    <a:pt x="2095" y="1355"/>
                    <a:pt x="2285" y="1207"/>
                    <a:pt x="2438" y="1060"/>
                  </a:cubicBezTo>
                  <a:cubicBezTo>
                    <a:pt x="2438" y="0"/>
                    <a:pt x="2438" y="0"/>
                    <a:pt x="2438" y="0"/>
                  </a:cubicBezTo>
                  <a:cubicBezTo>
                    <a:pt x="2098" y="332"/>
                    <a:pt x="1638" y="666"/>
                    <a:pt x="1070" y="993"/>
                  </a:cubicBezTo>
                  <a:cubicBezTo>
                    <a:pt x="707" y="1201"/>
                    <a:pt x="348" y="1381"/>
                    <a:pt x="0" y="1528"/>
                  </a:cubicBezTo>
                  <a:close/>
                </a:path>
              </a:pathLst>
            </a:custGeom>
            <a:solidFill>
              <a:srgbClr val="FF9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72"/>
            <p:cNvSpPr>
              <a:spLocks/>
            </p:cNvSpPr>
            <p:nvPr userDrawn="1"/>
          </p:nvSpPr>
          <p:spPr bwMode="invGray">
            <a:xfrm>
              <a:off x="-21582063" y="-11295063"/>
              <a:ext cx="55356126" cy="30291088"/>
            </a:xfrm>
            <a:custGeom>
              <a:avLst/>
              <a:gdLst>
                <a:gd name="T0" fmla="*/ 2428 w 4202"/>
                <a:gd name="T1" fmla="*/ 1295 h 2299"/>
                <a:gd name="T2" fmla="*/ 0 w 4202"/>
                <a:gd name="T3" fmla="*/ 2156 h 2299"/>
                <a:gd name="T4" fmla="*/ 0 w 4202"/>
                <a:gd name="T5" fmla="*/ 2299 h 2299"/>
                <a:gd name="T6" fmla="*/ 1764 w 4202"/>
                <a:gd name="T7" fmla="*/ 2299 h 2299"/>
                <a:gd name="T8" fmla="*/ 2834 w 4202"/>
                <a:gd name="T9" fmla="*/ 1764 h 2299"/>
                <a:gd name="T10" fmla="*/ 4202 w 4202"/>
                <a:gd name="T11" fmla="*/ 771 h 2299"/>
                <a:gd name="T12" fmla="*/ 4202 w 4202"/>
                <a:gd name="T13" fmla="*/ 0 h 2299"/>
                <a:gd name="T14" fmla="*/ 2428 w 4202"/>
                <a:gd name="T15" fmla="*/ 1295 h 2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02" h="2299">
                  <a:moveTo>
                    <a:pt x="2428" y="1295"/>
                  </a:moveTo>
                  <a:cubicBezTo>
                    <a:pt x="1539" y="1755"/>
                    <a:pt x="682" y="2057"/>
                    <a:pt x="0" y="2156"/>
                  </a:cubicBezTo>
                  <a:cubicBezTo>
                    <a:pt x="0" y="2299"/>
                    <a:pt x="0" y="2299"/>
                    <a:pt x="0" y="2299"/>
                  </a:cubicBezTo>
                  <a:cubicBezTo>
                    <a:pt x="1764" y="2299"/>
                    <a:pt x="1764" y="2299"/>
                    <a:pt x="1764" y="2299"/>
                  </a:cubicBezTo>
                  <a:cubicBezTo>
                    <a:pt x="2112" y="2152"/>
                    <a:pt x="2471" y="1972"/>
                    <a:pt x="2834" y="1764"/>
                  </a:cubicBezTo>
                  <a:cubicBezTo>
                    <a:pt x="3402" y="1437"/>
                    <a:pt x="3862" y="1103"/>
                    <a:pt x="4202" y="771"/>
                  </a:cubicBezTo>
                  <a:cubicBezTo>
                    <a:pt x="4202" y="0"/>
                    <a:pt x="4202" y="0"/>
                    <a:pt x="4202" y="0"/>
                  </a:cubicBezTo>
                  <a:cubicBezTo>
                    <a:pt x="3805" y="439"/>
                    <a:pt x="3183" y="904"/>
                    <a:pt x="2428" y="1295"/>
                  </a:cubicBezTo>
                  <a:close/>
                </a:path>
              </a:pathLst>
            </a:custGeom>
            <a:solidFill>
              <a:srgbClr val="FFCD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73"/>
            <p:cNvSpPr>
              <a:spLocks/>
            </p:cNvSpPr>
            <p:nvPr userDrawn="1"/>
          </p:nvSpPr>
          <p:spPr bwMode="invGray">
            <a:xfrm>
              <a:off x="-21582063" y="-12138025"/>
              <a:ext cx="55356126" cy="29249688"/>
            </a:xfrm>
            <a:custGeom>
              <a:avLst/>
              <a:gdLst>
                <a:gd name="T0" fmla="*/ 2512 w 4202"/>
                <a:gd name="T1" fmla="*/ 0 h 2220"/>
                <a:gd name="T2" fmla="*/ 1723 w 4202"/>
                <a:gd name="T3" fmla="*/ 431 h 2220"/>
                <a:gd name="T4" fmla="*/ 0 w 4202"/>
                <a:gd name="T5" fmla="*/ 1068 h 2220"/>
                <a:gd name="T6" fmla="*/ 0 w 4202"/>
                <a:gd name="T7" fmla="*/ 2220 h 2220"/>
                <a:gd name="T8" fmla="*/ 2428 w 4202"/>
                <a:gd name="T9" fmla="*/ 1359 h 2220"/>
                <a:gd name="T10" fmla="*/ 4202 w 4202"/>
                <a:gd name="T11" fmla="*/ 64 h 2220"/>
                <a:gd name="T12" fmla="*/ 4202 w 4202"/>
                <a:gd name="T13" fmla="*/ 0 h 2220"/>
                <a:gd name="T14" fmla="*/ 2512 w 4202"/>
                <a:gd name="T15" fmla="*/ 0 h 2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02" h="2220">
                  <a:moveTo>
                    <a:pt x="2512" y="0"/>
                  </a:moveTo>
                  <a:cubicBezTo>
                    <a:pt x="2270" y="150"/>
                    <a:pt x="2004" y="296"/>
                    <a:pt x="1723" y="431"/>
                  </a:cubicBezTo>
                  <a:cubicBezTo>
                    <a:pt x="1089" y="736"/>
                    <a:pt x="493" y="955"/>
                    <a:pt x="0" y="1068"/>
                  </a:cubicBezTo>
                  <a:cubicBezTo>
                    <a:pt x="0" y="2220"/>
                    <a:pt x="0" y="2220"/>
                    <a:pt x="0" y="2220"/>
                  </a:cubicBezTo>
                  <a:cubicBezTo>
                    <a:pt x="682" y="2121"/>
                    <a:pt x="1539" y="1819"/>
                    <a:pt x="2428" y="1359"/>
                  </a:cubicBezTo>
                  <a:cubicBezTo>
                    <a:pt x="3183" y="968"/>
                    <a:pt x="3805" y="503"/>
                    <a:pt x="4202" y="64"/>
                  </a:cubicBezTo>
                  <a:cubicBezTo>
                    <a:pt x="4202" y="0"/>
                    <a:pt x="4202" y="0"/>
                    <a:pt x="4202" y="0"/>
                  </a:cubicBezTo>
                  <a:lnTo>
                    <a:pt x="2512" y="0"/>
                  </a:lnTo>
                  <a:close/>
                </a:path>
              </a:pathLst>
            </a:custGeom>
            <a:solidFill>
              <a:srgbClr val="993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74"/>
            <p:cNvSpPr>
              <a:spLocks/>
            </p:cNvSpPr>
            <p:nvPr userDrawn="1"/>
          </p:nvSpPr>
          <p:spPr bwMode="invGray">
            <a:xfrm>
              <a:off x="-21582063" y="-12138025"/>
              <a:ext cx="33093026" cy="14071600"/>
            </a:xfrm>
            <a:custGeom>
              <a:avLst/>
              <a:gdLst>
                <a:gd name="T0" fmla="*/ 2512 w 2512"/>
                <a:gd name="T1" fmla="*/ 0 h 1068"/>
                <a:gd name="T2" fmla="*/ 0 w 2512"/>
                <a:gd name="T3" fmla="*/ 0 h 1068"/>
                <a:gd name="T4" fmla="*/ 0 w 2512"/>
                <a:gd name="T5" fmla="*/ 1068 h 1068"/>
                <a:gd name="T6" fmla="*/ 1723 w 2512"/>
                <a:gd name="T7" fmla="*/ 431 h 1068"/>
                <a:gd name="T8" fmla="*/ 2512 w 2512"/>
                <a:gd name="T9" fmla="*/ 0 h 1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12" h="1068">
                  <a:moveTo>
                    <a:pt x="25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68"/>
                    <a:pt x="0" y="1068"/>
                    <a:pt x="0" y="1068"/>
                  </a:cubicBezTo>
                  <a:cubicBezTo>
                    <a:pt x="493" y="955"/>
                    <a:pt x="1089" y="736"/>
                    <a:pt x="1723" y="431"/>
                  </a:cubicBezTo>
                  <a:cubicBezTo>
                    <a:pt x="2004" y="296"/>
                    <a:pt x="2270" y="150"/>
                    <a:pt x="2512" y="0"/>
                  </a:cubicBezTo>
                  <a:close/>
                </a:path>
              </a:pathLst>
            </a:custGeom>
            <a:solidFill>
              <a:srgbClr val="990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538164"/>
            <a:ext cx="8291511" cy="3975099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7038441"/>
      </p:ext>
    </p:extLst>
  </p:cSld>
  <p:clrMapOvr>
    <a:masterClrMapping/>
  </p:clrMapOvr>
  <p:transition>
    <p:fade/>
  </p:transition>
  <p:hf sldNum="0"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0FFF0-F7DD-407A-9AA6-72E7E3690154}" type="datetime1">
              <a:rPr lang="en-GB" smtClean="0"/>
              <a:t>10/1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FOOTER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58775" y="1616074"/>
            <a:ext cx="11471275" cy="45720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7248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Rippl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 bwMode="invGray">
          <a:xfrm>
            <a:off x="331" y="0"/>
            <a:ext cx="12192000" cy="6858000"/>
            <a:chOff x="-23126700" y="-13012738"/>
            <a:chExt cx="58445401" cy="32883476"/>
          </a:xfrm>
        </p:grpSpPr>
        <p:sp>
          <p:nvSpPr>
            <p:cNvPr id="19" name="Freeform 31"/>
            <p:cNvSpPr>
              <a:spLocks/>
            </p:cNvSpPr>
            <p:nvPr userDrawn="1"/>
          </p:nvSpPr>
          <p:spPr bwMode="invGray">
            <a:xfrm>
              <a:off x="-23126700" y="-13012738"/>
              <a:ext cx="58445400" cy="32883476"/>
            </a:xfrm>
            <a:custGeom>
              <a:avLst/>
              <a:gdLst>
                <a:gd name="T0" fmla="*/ 2668 w 5548"/>
                <a:gd name="T1" fmla="*/ 654 h 3121"/>
                <a:gd name="T2" fmla="*/ 0 w 5548"/>
                <a:gd name="T3" fmla="*/ 1560 h 3121"/>
                <a:gd name="T4" fmla="*/ 0 w 5548"/>
                <a:gd name="T5" fmla="*/ 3121 h 3121"/>
                <a:gd name="T6" fmla="*/ 2075 w 5548"/>
                <a:gd name="T7" fmla="*/ 3121 h 3121"/>
                <a:gd name="T8" fmla="*/ 4084 w 5548"/>
                <a:gd name="T9" fmla="*/ 2181 h 3121"/>
                <a:gd name="T10" fmla="*/ 5548 w 5548"/>
                <a:gd name="T11" fmla="*/ 1179 h 3121"/>
                <a:gd name="T12" fmla="*/ 5548 w 5548"/>
                <a:gd name="T13" fmla="*/ 0 h 3121"/>
                <a:gd name="T14" fmla="*/ 3878 w 5548"/>
                <a:gd name="T15" fmla="*/ 0 h 3121"/>
                <a:gd name="T16" fmla="*/ 2668 w 5548"/>
                <a:gd name="T17" fmla="*/ 654 h 3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48" h="3121">
                  <a:moveTo>
                    <a:pt x="2668" y="654"/>
                  </a:moveTo>
                  <a:cubicBezTo>
                    <a:pt x="1644" y="1134"/>
                    <a:pt x="721" y="1446"/>
                    <a:pt x="0" y="1560"/>
                  </a:cubicBezTo>
                  <a:cubicBezTo>
                    <a:pt x="0" y="3121"/>
                    <a:pt x="0" y="3121"/>
                    <a:pt x="0" y="3121"/>
                  </a:cubicBezTo>
                  <a:cubicBezTo>
                    <a:pt x="2075" y="3121"/>
                    <a:pt x="2075" y="3121"/>
                    <a:pt x="2075" y="3121"/>
                  </a:cubicBezTo>
                  <a:cubicBezTo>
                    <a:pt x="2712" y="2895"/>
                    <a:pt x="3394" y="2577"/>
                    <a:pt x="4084" y="2181"/>
                  </a:cubicBezTo>
                  <a:cubicBezTo>
                    <a:pt x="4658" y="1851"/>
                    <a:pt x="5149" y="1515"/>
                    <a:pt x="5548" y="1179"/>
                  </a:cubicBezTo>
                  <a:cubicBezTo>
                    <a:pt x="5548" y="0"/>
                    <a:pt x="5548" y="0"/>
                    <a:pt x="5548" y="0"/>
                  </a:cubicBezTo>
                  <a:cubicBezTo>
                    <a:pt x="3878" y="0"/>
                    <a:pt x="3878" y="0"/>
                    <a:pt x="3878" y="0"/>
                  </a:cubicBezTo>
                  <a:cubicBezTo>
                    <a:pt x="3510" y="229"/>
                    <a:pt x="3102" y="450"/>
                    <a:pt x="2668" y="654"/>
                  </a:cubicBezTo>
                  <a:close/>
                </a:path>
              </a:pathLst>
            </a:custGeom>
            <a:solidFill>
              <a:srgbClr val="990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26"/>
            <p:cNvSpPr>
              <a:spLocks/>
            </p:cNvSpPr>
            <p:nvPr userDrawn="1"/>
          </p:nvSpPr>
          <p:spPr bwMode="invGray">
            <a:xfrm>
              <a:off x="23013988" y="11093450"/>
              <a:ext cx="12304713" cy="8777288"/>
            </a:xfrm>
            <a:custGeom>
              <a:avLst/>
              <a:gdLst>
                <a:gd name="T0" fmla="*/ 0 w 1168"/>
                <a:gd name="T1" fmla="*/ 833 h 833"/>
                <a:gd name="T2" fmla="*/ 1168 w 1168"/>
                <a:gd name="T3" fmla="*/ 833 h 833"/>
                <a:gd name="T4" fmla="*/ 1168 w 1168"/>
                <a:gd name="T5" fmla="*/ 0 h 833"/>
                <a:gd name="T6" fmla="*/ 322 w 1168"/>
                <a:gd name="T7" fmla="*/ 631 h 833"/>
                <a:gd name="T8" fmla="*/ 0 w 1168"/>
                <a:gd name="T9" fmla="*/ 833 h 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8" h="833">
                  <a:moveTo>
                    <a:pt x="0" y="833"/>
                  </a:moveTo>
                  <a:cubicBezTo>
                    <a:pt x="1168" y="833"/>
                    <a:pt x="1168" y="833"/>
                    <a:pt x="1168" y="833"/>
                  </a:cubicBezTo>
                  <a:cubicBezTo>
                    <a:pt x="1168" y="0"/>
                    <a:pt x="1168" y="0"/>
                    <a:pt x="1168" y="0"/>
                  </a:cubicBezTo>
                  <a:cubicBezTo>
                    <a:pt x="917" y="216"/>
                    <a:pt x="634" y="428"/>
                    <a:pt x="322" y="631"/>
                  </a:cubicBezTo>
                  <a:cubicBezTo>
                    <a:pt x="215" y="701"/>
                    <a:pt x="108" y="768"/>
                    <a:pt x="0" y="833"/>
                  </a:cubicBezTo>
                  <a:close/>
                </a:path>
              </a:pathLst>
            </a:custGeom>
            <a:solidFill>
              <a:srgbClr val="00C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27"/>
            <p:cNvSpPr>
              <a:spLocks/>
            </p:cNvSpPr>
            <p:nvPr userDrawn="1"/>
          </p:nvSpPr>
          <p:spPr bwMode="invGray">
            <a:xfrm>
              <a:off x="17410113" y="8218488"/>
              <a:ext cx="17908588" cy="11652250"/>
            </a:xfrm>
            <a:custGeom>
              <a:avLst/>
              <a:gdLst>
                <a:gd name="T0" fmla="*/ 0 w 1700"/>
                <a:gd name="T1" fmla="*/ 1106 h 1106"/>
                <a:gd name="T2" fmla="*/ 532 w 1700"/>
                <a:gd name="T3" fmla="*/ 1106 h 1106"/>
                <a:gd name="T4" fmla="*/ 854 w 1700"/>
                <a:gd name="T5" fmla="*/ 904 h 1106"/>
                <a:gd name="T6" fmla="*/ 1700 w 1700"/>
                <a:gd name="T7" fmla="*/ 273 h 1106"/>
                <a:gd name="T8" fmla="*/ 1700 w 1700"/>
                <a:gd name="T9" fmla="*/ 0 h 1106"/>
                <a:gd name="T10" fmla="*/ 689 w 1700"/>
                <a:gd name="T11" fmla="*/ 717 h 1106"/>
                <a:gd name="T12" fmla="*/ 0 w 1700"/>
                <a:gd name="T13" fmla="*/ 1106 h 1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0" h="1106">
                  <a:moveTo>
                    <a:pt x="0" y="1106"/>
                  </a:moveTo>
                  <a:cubicBezTo>
                    <a:pt x="532" y="1106"/>
                    <a:pt x="532" y="1106"/>
                    <a:pt x="532" y="1106"/>
                  </a:cubicBezTo>
                  <a:cubicBezTo>
                    <a:pt x="640" y="1041"/>
                    <a:pt x="747" y="974"/>
                    <a:pt x="854" y="904"/>
                  </a:cubicBezTo>
                  <a:cubicBezTo>
                    <a:pt x="1166" y="701"/>
                    <a:pt x="1449" y="489"/>
                    <a:pt x="1700" y="273"/>
                  </a:cubicBezTo>
                  <a:cubicBezTo>
                    <a:pt x="1700" y="0"/>
                    <a:pt x="1700" y="0"/>
                    <a:pt x="1700" y="0"/>
                  </a:cubicBezTo>
                  <a:cubicBezTo>
                    <a:pt x="1404" y="252"/>
                    <a:pt x="1065" y="493"/>
                    <a:pt x="689" y="717"/>
                  </a:cubicBezTo>
                  <a:cubicBezTo>
                    <a:pt x="456" y="857"/>
                    <a:pt x="226" y="986"/>
                    <a:pt x="0" y="1106"/>
                  </a:cubicBezTo>
                  <a:close/>
                </a:path>
              </a:pathLst>
            </a:custGeom>
            <a:solidFill>
              <a:srgbClr val="009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invGray">
            <a:xfrm>
              <a:off x="-1268413" y="-590550"/>
              <a:ext cx="36587113" cy="20461288"/>
            </a:xfrm>
            <a:custGeom>
              <a:avLst/>
              <a:gdLst>
                <a:gd name="T0" fmla="*/ 0 w 3473"/>
                <a:gd name="T1" fmla="*/ 1942 h 1942"/>
                <a:gd name="T2" fmla="*/ 1773 w 3473"/>
                <a:gd name="T3" fmla="*/ 1942 h 1942"/>
                <a:gd name="T4" fmla="*/ 2462 w 3473"/>
                <a:gd name="T5" fmla="*/ 1553 h 1942"/>
                <a:gd name="T6" fmla="*/ 3473 w 3473"/>
                <a:gd name="T7" fmla="*/ 836 h 1942"/>
                <a:gd name="T8" fmla="*/ 3473 w 3473"/>
                <a:gd name="T9" fmla="*/ 0 h 1942"/>
                <a:gd name="T10" fmla="*/ 2009 w 3473"/>
                <a:gd name="T11" fmla="*/ 1002 h 1942"/>
                <a:gd name="T12" fmla="*/ 0 w 3473"/>
                <a:gd name="T13" fmla="*/ 1942 h 1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73" h="1942">
                  <a:moveTo>
                    <a:pt x="0" y="1942"/>
                  </a:moveTo>
                  <a:cubicBezTo>
                    <a:pt x="1773" y="1942"/>
                    <a:pt x="1773" y="1942"/>
                    <a:pt x="1773" y="1942"/>
                  </a:cubicBezTo>
                  <a:cubicBezTo>
                    <a:pt x="1999" y="1822"/>
                    <a:pt x="2229" y="1693"/>
                    <a:pt x="2462" y="1553"/>
                  </a:cubicBezTo>
                  <a:cubicBezTo>
                    <a:pt x="2838" y="1329"/>
                    <a:pt x="3177" y="1088"/>
                    <a:pt x="3473" y="836"/>
                  </a:cubicBezTo>
                  <a:cubicBezTo>
                    <a:pt x="3473" y="0"/>
                    <a:pt x="3473" y="0"/>
                    <a:pt x="3473" y="0"/>
                  </a:cubicBezTo>
                  <a:cubicBezTo>
                    <a:pt x="3074" y="336"/>
                    <a:pt x="2583" y="672"/>
                    <a:pt x="2009" y="1002"/>
                  </a:cubicBezTo>
                  <a:cubicBezTo>
                    <a:pt x="1319" y="1398"/>
                    <a:pt x="637" y="1716"/>
                    <a:pt x="0" y="1942"/>
                  </a:cubicBezTo>
                  <a:close/>
                </a:path>
              </a:pathLst>
            </a:custGeom>
            <a:solidFill>
              <a:srgbClr val="00C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" name="Freeform 29"/>
            <p:cNvSpPr>
              <a:spLocks/>
            </p:cNvSpPr>
            <p:nvPr userDrawn="1"/>
          </p:nvSpPr>
          <p:spPr bwMode="invGray">
            <a:xfrm>
              <a:off x="17726025" y="-13012738"/>
              <a:ext cx="17592675" cy="0"/>
            </a:xfrm>
            <a:custGeom>
              <a:avLst/>
              <a:gdLst>
                <a:gd name="T0" fmla="*/ 0 w 1670"/>
                <a:gd name="T1" fmla="*/ 0 w 1670"/>
                <a:gd name="T2" fmla="*/ 1670 w 1670"/>
                <a:gd name="T3" fmla="*/ 1670 w 1670"/>
                <a:gd name="T4" fmla="*/ 0 w 167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67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670" y="0"/>
                    <a:pt x="1670" y="0"/>
                    <a:pt x="1670" y="0"/>
                  </a:cubicBezTo>
                  <a:cubicBezTo>
                    <a:pt x="1670" y="0"/>
                    <a:pt x="1670" y="0"/>
                    <a:pt x="167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90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" name="Rectangle 30"/>
            <p:cNvSpPr>
              <a:spLocks noChangeArrowheads="1"/>
            </p:cNvSpPr>
            <p:nvPr userDrawn="1"/>
          </p:nvSpPr>
          <p:spPr bwMode="invGray">
            <a:xfrm>
              <a:off x="-23126700" y="3424237"/>
              <a:ext cx="1588" cy="16446501"/>
            </a:xfrm>
            <a:prstGeom prst="rect">
              <a:avLst/>
            </a:prstGeom>
            <a:solidFill>
              <a:srgbClr val="990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" name="Freeform 32"/>
            <p:cNvSpPr>
              <a:spLocks/>
            </p:cNvSpPr>
            <p:nvPr userDrawn="1"/>
          </p:nvSpPr>
          <p:spPr bwMode="invGray">
            <a:xfrm>
              <a:off x="-23126700" y="-13012738"/>
              <a:ext cx="40852725" cy="16436975"/>
            </a:xfrm>
            <a:custGeom>
              <a:avLst/>
              <a:gdLst>
                <a:gd name="T0" fmla="*/ 0 w 3878"/>
                <a:gd name="T1" fmla="*/ 0 h 1560"/>
                <a:gd name="T2" fmla="*/ 3878 w 3878"/>
                <a:gd name="T3" fmla="*/ 0 h 1560"/>
                <a:gd name="T4" fmla="*/ 3878 w 3878"/>
                <a:gd name="T5" fmla="*/ 0 h 1560"/>
                <a:gd name="T6" fmla="*/ 0 w 3878"/>
                <a:gd name="T7" fmla="*/ 0 h 1560"/>
                <a:gd name="T8" fmla="*/ 0 w 3878"/>
                <a:gd name="T9" fmla="*/ 1560 h 1560"/>
                <a:gd name="T10" fmla="*/ 0 w 3878"/>
                <a:gd name="T11" fmla="*/ 1560 h 1560"/>
                <a:gd name="T12" fmla="*/ 0 w 3878"/>
                <a:gd name="T13" fmla="*/ 0 h 1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78" h="1560">
                  <a:moveTo>
                    <a:pt x="0" y="0"/>
                  </a:moveTo>
                  <a:cubicBezTo>
                    <a:pt x="3878" y="0"/>
                    <a:pt x="3878" y="0"/>
                    <a:pt x="3878" y="0"/>
                  </a:cubicBezTo>
                  <a:cubicBezTo>
                    <a:pt x="3878" y="0"/>
                    <a:pt x="3878" y="0"/>
                    <a:pt x="387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560"/>
                    <a:pt x="0" y="1560"/>
                    <a:pt x="0" y="1560"/>
                  </a:cubicBezTo>
                  <a:cubicBezTo>
                    <a:pt x="0" y="1560"/>
                    <a:pt x="0" y="1560"/>
                    <a:pt x="0" y="156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CC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" name="Freeform 33"/>
            <p:cNvSpPr>
              <a:spLocks/>
            </p:cNvSpPr>
            <p:nvPr userDrawn="1"/>
          </p:nvSpPr>
          <p:spPr bwMode="invGray">
            <a:xfrm>
              <a:off x="-23126700" y="-13012738"/>
              <a:ext cx="40852725" cy="16436975"/>
            </a:xfrm>
            <a:custGeom>
              <a:avLst/>
              <a:gdLst>
                <a:gd name="T0" fmla="*/ 0 w 3878"/>
                <a:gd name="T1" fmla="*/ 1560 h 1560"/>
                <a:gd name="T2" fmla="*/ 2668 w 3878"/>
                <a:gd name="T3" fmla="*/ 654 h 1560"/>
                <a:gd name="T4" fmla="*/ 3878 w 3878"/>
                <a:gd name="T5" fmla="*/ 0 h 1560"/>
                <a:gd name="T6" fmla="*/ 0 w 3878"/>
                <a:gd name="T7" fmla="*/ 0 h 1560"/>
                <a:gd name="T8" fmla="*/ 0 w 3878"/>
                <a:gd name="T9" fmla="*/ 1560 h 1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78" h="1560">
                  <a:moveTo>
                    <a:pt x="0" y="1560"/>
                  </a:moveTo>
                  <a:cubicBezTo>
                    <a:pt x="721" y="1446"/>
                    <a:pt x="1644" y="1134"/>
                    <a:pt x="2668" y="654"/>
                  </a:cubicBezTo>
                  <a:cubicBezTo>
                    <a:pt x="3102" y="450"/>
                    <a:pt x="3510" y="229"/>
                    <a:pt x="387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560"/>
                  </a:lnTo>
                  <a:close/>
                </a:path>
              </a:pathLst>
            </a:custGeom>
            <a:solidFill>
              <a:srgbClr val="CC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538164"/>
            <a:ext cx="8291511" cy="3975099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310674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  <p:hf sldNum="0"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 hasCustomPrompt="1"/>
          </p:nvPr>
        </p:nvSpPr>
        <p:spPr>
          <a:xfrm>
            <a:off x="539999" y="1793875"/>
            <a:ext cx="11112251" cy="4167188"/>
          </a:xfrm>
        </p:spPr>
        <p:txBody>
          <a:bodyPr/>
          <a:lstStyle>
            <a:lvl1pPr>
              <a:tabLst>
                <a:tab pos="896938" algn="l"/>
              </a:tabLst>
              <a:defRPr/>
            </a:lvl1pPr>
            <a:lvl2pPr marL="576000" indent="-284400">
              <a:tabLst>
                <a:tab pos="896938" algn="l"/>
              </a:tabLst>
              <a:defRPr/>
            </a:lvl2pPr>
            <a:lvl3pPr marL="864000" indent="-277200">
              <a:tabLst>
                <a:tab pos="896938" algn="l"/>
              </a:tabLst>
              <a:defRPr/>
            </a:lvl3pPr>
            <a:lvl4pPr marL="864000" indent="-1588">
              <a:tabLst>
                <a:tab pos="896938" algn="l"/>
              </a:tabLst>
              <a:defRPr/>
            </a:lvl4pPr>
            <a:lvl5pPr marL="864000" indent="-1588">
              <a:tabLst>
                <a:tab pos="896938" algn="l"/>
              </a:tabLst>
              <a:defRPr/>
            </a:lvl5pPr>
          </a:lstStyle>
          <a:p>
            <a:pPr lvl="0"/>
            <a:r>
              <a:rPr lang="sv-SE" noProof="0" dirty="0" err="1"/>
              <a:t>Click</a:t>
            </a:r>
            <a:r>
              <a:rPr lang="sv-SE" noProof="0" dirty="0"/>
              <a:t> to </a:t>
            </a:r>
            <a:r>
              <a:rPr lang="sv-SE" noProof="0" dirty="0" err="1"/>
              <a:t>edit</a:t>
            </a:r>
            <a:r>
              <a:rPr lang="sv-SE" noProof="0" dirty="0"/>
              <a:t> Master text </a:t>
            </a:r>
            <a:r>
              <a:rPr lang="sv-SE" noProof="0" dirty="0" err="1"/>
              <a:t>styles</a:t>
            </a:r>
            <a:endParaRPr lang="sv-SE" noProof="0" dirty="0"/>
          </a:p>
          <a:p>
            <a:pPr lvl="1"/>
            <a:r>
              <a:rPr lang="sv-SE" noProof="0" dirty="0"/>
              <a:t>Second </a:t>
            </a:r>
            <a:r>
              <a:rPr lang="sv-SE" noProof="0" dirty="0" err="1"/>
              <a:t>level</a:t>
            </a:r>
            <a:endParaRPr lang="sv-SE" noProof="0" dirty="0"/>
          </a:p>
          <a:p>
            <a:pPr lvl="2"/>
            <a:r>
              <a:rPr lang="sv-SE" noProof="0" dirty="0" err="1"/>
              <a:t>Third</a:t>
            </a:r>
            <a:r>
              <a:rPr lang="sv-SE" noProof="0" dirty="0"/>
              <a:t> </a:t>
            </a:r>
            <a:r>
              <a:rPr lang="sv-SE" noProof="0" dirty="0" err="1"/>
              <a:t>level</a:t>
            </a:r>
            <a:endParaRPr lang="sv-SE" noProof="0" dirty="0"/>
          </a:p>
          <a:p>
            <a:pPr lvl="3"/>
            <a:r>
              <a:rPr lang="sv-SE" noProof="0" dirty="0" err="1"/>
              <a:t>Fourth</a:t>
            </a:r>
            <a:r>
              <a:rPr lang="sv-SE" noProof="0" dirty="0"/>
              <a:t> </a:t>
            </a:r>
            <a:r>
              <a:rPr lang="sv-SE" noProof="0" dirty="0" err="1"/>
              <a:t>level</a:t>
            </a:r>
            <a:endParaRPr lang="sv-SE" noProof="0" dirty="0"/>
          </a:p>
          <a:p>
            <a:pPr lvl="4"/>
            <a:r>
              <a:rPr lang="sv-SE" noProof="0" dirty="0" err="1"/>
              <a:t>Fifth</a:t>
            </a:r>
            <a:r>
              <a:rPr lang="sv-SE" noProof="0" dirty="0"/>
              <a:t> </a:t>
            </a:r>
            <a:r>
              <a:rPr lang="sv-SE" noProof="0" dirty="0" err="1"/>
              <a:t>level</a:t>
            </a:r>
            <a:endParaRPr lang="sv-SE" noProof="0" dirty="0"/>
          </a:p>
        </p:txBody>
      </p:sp>
    </p:spTree>
    <p:extLst>
      <p:ext uri="{BB962C8B-B14F-4D97-AF65-F5344CB8AC3E}">
        <p14:creationId xmlns:p14="http://schemas.microsoft.com/office/powerpoint/2010/main" val="3696683318"/>
      </p:ext>
    </p:extLst>
  </p:cSld>
  <p:clrMapOvr>
    <a:masterClrMapping/>
  </p:clrMapOvr>
  <p:transition>
    <p:fade/>
  </p:transition>
  <p:hf sldNum="0"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538164" y="1793876"/>
            <a:ext cx="5467350" cy="41671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6184900" y="1793876"/>
            <a:ext cx="5467350" cy="41671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02355103"/>
      </p:ext>
    </p:extLst>
  </p:cSld>
  <p:clrMapOvr>
    <a:masterClrMapping/>
  </p:clrMapOvr>
  <p:transition>
    <p:fade/>
  </p:transition>
  <p:hf sldNum="0"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3"/>
          </p:nvPr>
        </p:nvSpPr>
        <p:spPr>
          <a:xfrm>
            <a:off x="541602" y="1793876"/>
            <a:ext cx="3583549" cy="4167188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200"/>
              </a:spcBef>
              <a:defRPr sz="12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4"/>
          </p:nvPr>
        </p:nvSpPr>
        <p:spPr>
          <a:xfrm>
            <a:off x="4305151" y="1793876"/>
            <a:ext cx="3583137" cy="4167187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200"/>
              </a:spcBef>
              <a:defRPr sz="12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5"/>
          </p:nvPr>
        </p:nvSpPr>
        <p:spPr>
          <a:xfrm>
            <a:off x="8068700" y="1793876"/>
            <a:ext cx="3583550" cy="4167188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200"/>
              </a:spcBef>
              <a:defRPr sz="12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23206810"/>
      </p:ext>
    </p:extLst>
  </p:cSld>
  <p:clrMapOvr>
    <a:masterClrMapping/>
  </p:clrMapOvr>
  <p:transition>
    <p:fade/>
  </p:transition>
  <p:hf sldNum="0"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</a:t>
            </a:r>
            <a:r>
              <a:rPr lang="en-US" dirty="0" err="1"/>
              <a:t>TO</a:t>
            </a:r>
            <a:r>
              <a:rPr lang="en-US" dirty="0"/>
              <a:t> Add title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540000" y="1793875"/>
            <a:ext cx="2644526" cy="4167188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200"/>
              </a:spcBef>
              <a:defRPr sz="12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3368202" y="1793875"/>
            <a:ext cx="2643188" cy="4167188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200"/>
              </a:spcBef>
              <a:defRPr sz="12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5"/>
          </p:nvPr>
        </p:nvSpPr>
        <p:spPr>
          <a:xfrm>
            <a:off x="6175849" y="1793876"/>
            <a:ext cx="2646363" cy="4167188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200"/>
              </a:spcBef>
              <a:defRPr sz="12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/>
          </p:nvPr>
        </p:nvSpPr>
        <p:spPr>
          <a:xfrm>
            <a:off x="9005888" y="1793876"/>
            <a:ext cx="2646362" cy="4167187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200"/>
              </a:spcBef>
              <a:defRPr sz="12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69121757"/>
      </p:ext>
    </p:extLst>
  </p:cSld>
  <p:clrMapOvr>
    <a:masterClrMapping/>
  </p:clrMapOvr>
  <p:transition>
    <p:fade/>
  </p:transition>
  <p:hf sldNum="0"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040617" y="6421919"/>
            <a:ext cx="3964896" cy="153888"/>
          </a:xfrm>
        </p:spPr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184900" y="0"/>
            <a:ext cx="6007100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540000" y="1793876"/>
            <a:ext cx="5465514" cy="41671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40000" y="538163"/>
            <a:ext cx="5465514" cy="1079500"/>
          </a:xfrm>
        </p:spPr>
        <p:txBody>
          <a:bodyPr/>
          <a:lstStyle/>
          <a:p>
            <a:r>
              <a:rPr lang="en-US" dirty="0"/>
              <a:t>CLICK TO Add tit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68044409"/>
      </p:ext>
    </p:extLst>
  </p:cSld>
  <p:clrMapOvr>
    <a:masterClrMapping/>
  </p:clrMapOvr>
  <p:transition>
    <p:fade/>
  </p:transition>
  <p:hf sldNum="0"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8163" y="1793875"/>
            <a:ext cx="11114087" cy="4167188"/>
          </a:xfrm>
        </p:spPr>
        <p:txBody>
          <a:bodyPr/>
          <a:lstStyle>
            <a:lvl1pPr>
              <a:defRPr sz="3000"/>
            </a:lvl1pPr>
            <a:lvl2pPr>
              <a:defRPr sz="300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1926644"/>
      </p:ext>
    </p:extLst>
  </p:cSld>
  <p:clrMapOvr>
    <a:masterClrMapping/>
  </p:clrMapOvr>
  <p:transition>
    <p:fade/>
  </p:transition>
  <p:hf sldNum="0"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3834460"/>
      </p:ext>
    </p:extLst>
  </p:cSld>
  <p:clrMapOvr>
    <a:masterClrMapping/>
  </p:clrMapOvr>
  <p:transition>
    <p:fade/>
  </p:transition>
  <p:hf sldNum="0"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3112729"/>
      </p:ext>
    </p:extLst>
  </p:cSld>
  <p:clrMapOvr>
    <a:masterClrMapping/>
  </p:clrMapOvr>
  <p:transition>
    <p:fade/>
  </p:transition>
  <p:hf sldNum="0"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Hol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Placeholder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" r="226"/>
          <a:stretch>
            <a:fillRect/>
          </a:stretch>
        </p:blipFill>
        <p:spPr>
          <a:xfrm>
            <a:off x="2749799" y="2431150"/>
            <a:ext cx="6692651" cy="1988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546612"/>
      </p:ext>
    </p:extLst>
  </p:cSld>
  <p:clrMapOvr>
    <a:masterClrMapping/>
  </p:clrMapOvr>
  <p:transition>
    <p:fade/>
  </p:transition>
  <p:hf sldNum="0"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1"/>
            <a:ext cx="12192001" cy="6858000"/>
            <a:chOff x="0" y="0"/>
            <a:chExt cx="12192001" cy="6858001"/>
          </a:xfrm>
        </p:grpSpPr>
        <p:sp>
          <p:nvSpPr>
            <p:cNvPr id="9" name="Freeform 5"/>
            <p:cNvSpPr>
              <a:spLocks/>
            </p:cNvSpPr>
            <p:nvPr userDrawn="1"/>
          </p:nvSpPr>
          <p:spPr bwMode="auto">
            <a:xfrm>
              <a:off x="0" y="0"/>
              <a:ext cx="8556625" cy="3794125"/>
            </a:xfrm>
            <a:custGeom>
              <a:avLst/>
              <a:gdLst>
                <a:gd name="T0" fmla="*/ 0 w 5390"/>
                <a:gd name="T1" fmla="*/ 2390 h 2390"/>
                <a:gd name="T2" fmla="*/ 0 w 5390"/>
                <a:gd name="T3" fmla="*/ 2390 h 2390"/>
                <a:gd name="T4" fmla="*/ 86 w 5390"/>
                <a:gd name="T5" fmla="*/ 2371 h 2390"/>
                <a:gd name="T6" fmla="*/ 174 w 5390"/>
                <a:gd name="T7" fmla="*/ 2351 h 2390"/>
                <a:gd name="T8" fmla="*/ 263 w 5390"/>
                <a:gd name="T9" fmla="*/ 2328 h 2390"/>
                <a:gd name="T10" fmla="*/ 353 w 5390"/>
                <a:gd name="T11" fmla="*/ 2305 h 2390"/>
                <a:gd name="T12" fmla="*/ 443 w 5390"/>
                <a:gd name="T13" fmla="*/ 2281 h 2390"/>
                <a:gd name="T14" fmla="*/ 534 w 5390"/>
                <a:gd name="T15" fmla="*/ 2256 h 2390"/>
                <a:gd name="T16" fmla="*/ 628 w 5390"/>
                <a:gd name="T17" fmla="*/ 2230 h 2390"/>
                <a:gd name="T18" fmla="*/ 721 w 5390"/>
                <a:gd name="T19" fmla="*/ 2202 h 2390"/>
                <a:gd name="T20" fmla="*/ 815 w 5390"/>
                <a:gd name="T21" fmla="*/ 2174 h 2390"/>
                <a:gd name="T22" fmla="*/ 911 w 5390"/>
                <a:gd name="T23" fmla="*/ 2144 h 2390"/>
                <a:gd name="T24" fmla="*/ 1007 w 5390"/>
                <a:gd name="T25" fmla="*/ 2113 h 2390"/>
                <a:gd name="T26" fmla="*/ 1104 w 5390"/>
                <a:gd name="T27" fmla="*/ 2082 h 2390"/>
                <a:gd name="T28" fmla="*/ 1202 w 5390"/>
                <a:gd name="T29" fmla="*/ 2050 h 2390"/>
                <a:gd name="T30" fmla="*/ 1302 w 5390"/>
                <a:gd name="T31" fmla="*/ 2015 h 2390"/>
                <a:gd name="T32" fmla="*/ 1502 w 5390"/>
                <a:gd name="T33" fmla="*/ 1944 h 2390"/>
                <a:gd name="T34" fmla="*/ 1706 w 5390"/>
                <a:gd name="T35" fmla="*/ 1870 h 2390"/>
                <a:gd name="T36" fmla="*/ 1914 w 5390"/>
                <a:gd name="T37" fmla="*/ 1789 h 2390"/>
                <a:gd name="T38" fmla="*/ 2124 w 5390"/>
                <a:gd name="T39" fmla="*/ 1706 h 2390"/>
                <a:gd name="T40" fmla="*/ 2338 w 5390"/>
                <a:gd name="T41" fmla="*/ 1619 h 2390"/>
                <a:gd name="T42" fmla="*/ 2554 w 5390"/>
                <a:gd name="T43" fmla="*/ 1526 h 2390"/>
                <a:gd name="T44" fmla="*/ 2773 w 5390"/>
                <a:gd name="T45" fmla="*/ 1432 h 2390"/>
                <a:gd name="T46" fmla="*/ 2995 w 5390"/>
                <a:gd name="T47" fmla="*/ 1332 h 2390"/>
                <a:gd name="T48" fmla="*/ 3218 w 5390"/>
                <a:gd name="T49" fmla="*/ 1228 h 2390"/>
                <a:gd name="T50" fmla="*/ 3218 w 5390"/>
                <a:gd name="T51" fmla="*/ 1228 h 2390"/>
                <a:gd name="T52" fmla="*/ 3368 w 5390"/>
                <a:gd name="T53" fmla="*/ 1157 h 2390"/>
                <a:gd name="T54" fmla="*/ 3517 w 5390"/>
                <a:gd name="T55" fmla="*/ 1085 h 2390"/>
                <a:gd name="T56" fmla="*/ 3664 w 5390"/>
                <a:gd name="T57" fmla="*/ 1012 h 2390"/>
                <a:gd name="T58" fmla="*/ 3809 w 5390"/>
                <a:gd name="T59" fmla="*/ 937 h 2390"/>
                <a:gd name="T60" fmla="*/ 3952 w 5390"/>
                <a:gd name="T61" fmla="*/ 863 h 2390"/>
                <a:gd name="T62" fmla="*/ 4093 w 5390"/>
                <a:gd name="T63" fmla="*/ 787 h 2390"/>
                <a:gd name="T64" fmla="*/ 4232 w 5390"/>
                <a:gd name="T65" fmla="*/ 710 h 2390"/>
                <a:gd name="T66" fmla="*/ 4370 w 5390"/>
                <a:gd name="T67" fmla="*/ 634 h 2390"/>
                <a:gd name="T68" fmla="*/ 4506 w 5390"/>
                <a:gd name="T69" fmla="*/ 556 h 2390"/>
                <a:gd name="T70" fmla="*/ 4639 w 5390"/>
                <a:gd name="T71" fmla="*/ 478 h 2390"/>
                <a:gd name="T72" fmla="*/ 4770 w 5390"/>
                <a:gd name="T73" fmla="*/ 400 h 2390"/>
                <a:gd name="T74" fmla="*/ 4900 w 5390"/>
                <a:gd name="T75" fmla="*/ 320 h 2390"/>
                <a:gd name="T76" fmla="*/ 5026 w 5390"/>
                <a:gd name="T77" fmla="*/ 240 h 2390"/>
                <a:gd name="T78" fmla="*/ 5150 w 5390"/>
                <a:gd name="T79" fmla="*/ 161 h 2390"/>
                <a:gd name="T80" fmla="*/ 5272 w 5390"/>
                <a:gd name="T81" fmla="*/ 80 h 2390"/>
                <a:gd name="T82" fmla="*/ 5390 w 5390"/>
                <a:gd name="T83" fmla="*/ 0 h 2390"/>
                <a:gd name="T84" fmla="*/ 0 w 5390"/>
                <a:gd name="T85" fmla="*/ 0 h 2390"/>
                <a:gd name="T86" fmla="*/ 0 w 5390"/>
                <a:gd name="T87" fmla="*/ 2390 h 2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90" h="2390">
                  <a:moveTo>
                    <a:pt x="0" y="2390"/>
                  </a:moveTo>
                  <a:lnTo>
                    <a:pt x="0" y="2390"/>
                  </a:lnTo>
                  <a:lnTo>
                    <a:pt x="86" y="2371"/>
                  </a:lnTo>
                  <a:lnTo>
                    <a:pt x="174" y="2351"/>
                  </a:lnTo>
                  <a:lnTo>
                    <a:pt x="263" y="2328"/>
                  </a:lnTo>
                  <a:lnTo>
                    <a:pt x="353" y="2305"/>
                  </a:lnTo>
                  <a:lnTo>
                    <a:pt x="443" y="2281"/>
                  </a:lnTo>
                  <a:lnTo>
                    <a:pt x="534" y="2256"/>
                  </a:lnTo>
                  <a:lnTo>
                    <a:pt x="628" y="2230"/>
                  </a:lnTo>
                  <a:lnTo>
                    <a:pt x="721" y="2202"/>
                  </a:lnTo>
                  <a:lnTo>
                    <a:pt x="815" y="2174"/>
                  </a:lnTo>
                  <a:lnTo>
                    <a:pt x="911" y="2144"/>
                  </a:lnTo>
                  <a:lnTo>
                    <a:pt x="1007" y="2113"/>
                  </a:lnTo>
                  <a:lnTo>
                    <a:pt x="1104" y="2082"/>
                  </a:lnTo>
                  <a:lnTo>
                    <a:pt x="1202" y="2050"/>
                  </a:lnTo>
                  <a:lnTo>
                    <a:pt x="1302" y="2015"/>
                  </a:lnTo>
                  <a:lnTo>
                    <a:pt x="1502" y="1944"/>
                  </a:lnTo>
                  <a:lnTo>
                    <a:pt x="1706" y="1870"/>
                  </a:lnTo>
                  <a:lnTo>
                    <a:pt x="1914" y="1789"/>
                  </a:lnTo>
                  <a:lnTo>
                    <a:pt x="2124" y="1706"/>
                  </a:lnTo>
                  <a:lnTo>
                    <a:pt x="2338" y="1619"/>
                  </a:lnTo>
                  <a:lnTo>
                    <a:pt x="2554" y="1526"/>
                  </a:lnTo>
                  <a:lnTo>
                    <a:pt x="2773" y="1432"/>
                  </a:lnTo>
                  <a:lnTo>
                    <a:pt x="2995" y="1332"/>
                  </a:lnTo>
                  <a:lnTo>
                    <a:pt x="3218" y="1228"/>
                  </a:lnTo>
                  <a:lnTo>
                    <a:pt x="3218" y="1228"/>
                  </a:lnTo>
                  <a:lnTo>
                    <a:pt x="3368" y="1157"/>
                  </a:lnTo>
                  <a:lnTo>
                    <a:pt x="3517" y="1085"/>
                  </a:lnTo>
                  <a:lnTo>
                    <a:pt x="3664" y="1012"/>
                  </a:lnTo>
                  <a:lnTo>
                    <a:pt x="3809" y="937"/>
                  </a:lnTo>
                  <a:lnTo>
                    <a:pt x="3952" y="863"/>
                  </a:lnTo>
                  <a:lnTo>
                    <a:pt x="4093" y="787"/>
                  </a:lnTo>
                  <a:lnTo>
                    <a:pt x="4232" y="710"/>
                  </a:lnTo>
                  <a:lnTo>
                    <a:pt x="4370" y="634"/>
                  </a:lnTo>
                  <a:lnTo>
                    <a:pt x="4506" y="556"/>
                  </a:lnTo>
                  <a:lnTo>
                    <a:pt x="4639" y="478"/>
                  </a:lnTo>
                  <a:lnTo>
                    <a:pt x="4770" y="400"/>
                  </a:lnTo>
                  <a:lnTo>
                    <a:pt x="4900" y="320"/>
                  </a:lnTo>
                  <a:lnTo>
                    <a:pt x="5026" y="240"/>
                  </a:lnTo>
                  <a:lnTo>
                    <a:pt x="5150" y="161"/>
                  </a:lnTo>
                  <a:lnTo>
                    <a:pt x="5272" y="80"/>
                  </a:lnTo>
                  <a:lnTo>
                    <a:pt x="5390" y="0"/>
                  </a:lnTo>
                  <a:lnTo>
                    <a:pt x="0" y="0"/>
                  </a:lnTo>
                  <a:lnTo>
                    <a:pt x="0" y="2390"/>
                  </a:lnTo>
                  <a:close/>
                </a:path>
              </a:pathLst>
            </a:custGeom>
            <a:solidFill>
              <a:srgbClr val="CC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4895850" y="2306638"/>
              <a:ext cx="7296150" cy="4551363"/>
            </a:xfrm>
            <a:custGeom>
              <a:avLst/>
              <a:gdLst>
                <a:gd name="T0" fmla="*/ 4596 w 4596"/>
                <a:gd name="T1" fmla="*/ 0 h 2867"/>
                <a:gd name="T2" fmla="*/ 4476 w 4596"/>
                <a:gd name="T3" fmla="*/ 114 h 2867"/>
                <a:gd name="T4" fmla="*/ 4351 w 4596"/>
                <a:gd name="T5" fmla="*/ 229 h 2867"/>
                <a:gd name="T6" fmla="*/ 4222 w 4596"/>
                <a:gd name="T7" fmla="*/ 346 h 2867"/>
                <a:gd name="T8" fmla="*/ 4086 w 4596"/>
                <a:gd name="T9" fmla="*/ 461 h 2867"/>
                <a:gd name="T10" fmla="*/ 3946 w 4596"/>
                <a:gd name="T11" fmla="*/ 576 h 2867"/>
                <a:gd name="T12" fmla="*/ 3800 w 4596"/>
                <a:gd name="T13" fmla="*/ 691 h 2867"/>
                <a:gd name="T14" fmla="*/ 3649 w 4596"/>
                <a:gd name="T15" fmla="*/ 808 h 2867"/>
                <a:gd name="T16" fmla="*/ 3494 w 4596"/>
                <a:gd name="T17" fmla="*/ 923 h 2867"/>
                <a:gd name="T18" fmla="*/ 3334 w 4596"/>
                <a:gd name="T19" fmla="*/ 1038 h 2867"/>
                <a:gd name="T20" fmla="*/ 3167 w 4596"/>
                <a:gd name="T21" fmla="*/ 1153 h 2867"/>
                <a:gd name="T22" fmla="*/ 2996 w 4596"/>
                <a:gd name="T23" fmla="*/ 1269 h 2867"/>
                <a:gd name="T24" fmla="*/ 2821 w 4596"/>
                <a:gd name="T25" fmla="*/ 1384 h 2867"/>
                <a:gd name="T26" fmla="*/ 2454 w 4596"/>
                <a:gd name="T27" fmla="*/ 1613 h 2867"/>
                <a:gd name="T28" fmla="*/ 2068 w 4596"/>
                <a:gd name="T29" fmla="*/ 1841 h 2867"/>
                <a:gd name="T30" fmla="*/ 1936 w 4596"/>
                <a:gd name="T31" fmla="*/ 1915 h 2867"/>
                <a:gd name="T32" fmla="*/ 1674 w 4596"/>
                <a:gd name="T33" fmla="*/ 2062 h 2867"/>
                <a:gd name="T34" fmla="*/ 1412 w 4596"/>
                <a:gd name="T35" fmla="*/ 2201 h 2867"/>
                <a:gd name="T36" fmla="*/ 1151 w 4596"/>
                <a:gd name="T37" fmla="*/ 2335 h 2867"/>
                <a:gd name="T38" fmla="*/ 892 w 4596"/>
                <a:gd name="T39" fmla="*/ 2464 h 2867"/>
                <a:gd name="T40" fmla="*/ 635 w 4596"/>
                <a:gd name="T41" fmla="*/ 2587 h 2867"/>
                <a:gd name="T42" fmla="*/ 379 w 4596"/>
                <a:gd name="T43" fmla="*/ 2704 h 2867"/>
                <a:gd name="T44" fmla="*/ 126 w 4596"/>
                <a:gd name="T45" fmla="*/ 2814 h 2867"/>
                <a:gd name="T46" fmla="*/ 2354 w 4596"/>
                <a:gd name="T47" fmla="*/ 2867 h 2867"/>
                <a:gd name="T48" fmla="*/ 2538 w 4596"/>
                <a:gd name="T49" fmla="*/ 2760 h 2867"/>
                <a:gd name="T50" fmla="*/ 2723 w 4596"/>
                <a:gd name="T51" fmla="*/ 2652 h 2867"/>
                <a:gd name="T52" fmla="*/ 2858 w 4596"/>
                <a:gd name="T53" fmla="*/ 2569 h 2867"/>
                <a:gd name="T54" fmla="*/ 3124 w 4596"/>
                <a:gd name="T55" fmla="*/ 2401 h 2867"/>
                <a:gd name="T56" fmla="*/ 3378 w 4596"/>
                <a:gd name="T57" fmla="*/ 2229 h 2867"/>
                <a:gd name="T58" fmla="*/ 3624 w 4596"/>
                <a:gd name="T59" fmla="*/ 2051 h 2867"/>
                <a:gd name="T60" fmla="*/ 3859 w 4596"/>
                <a:gd name="T61" fmla="*/ 1871 h 2867"/>
                <a:gd name="T62" fmla="*/ 4084 w 4596"/>
                <a:gd name="T63" fmla="*/ 1687 h 2867"/>
                <a:gd name="T64" fmla="*/ 4297 w 4596"/>
                <a:gd name="T65" fmla="*/ 1500 h 2867"/>
                <a:gd name="T66" fmla="*/ 4499 w 4596"/>
                <a:gd name="T67" fmla="*/ 1311 h 2867"/>
                <a:gd name="T68" fmla="*/ 4596 w 4596"/>
                <a:gd name="T69" fmla="*/ 0 h 2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596" h="2867">
                  <a:moveTo>
                    <a:pt x="4596" y="0"/>
                  </a:moveTo>
                  <a:lnTo>
                    <a:pt x="4596" y="0"/>
                  </a:lnTo>
                  <a:lnTo>
                    <a:pt x="4537" y="58"/>
                  </a:lnTo>
                  <a:lnTo>
                    <a:pt x="4476" y="114"/>
                  </a:lnTo>
                  <a:lnTo>
                    <a:pt x="4415" y="172"/>
                  </a:lnTo>
                  <a:lnTo>
                    <a:pt x="4351" y="229"/>
                  </a:lnTo>
                  <a:lnTo>
                    <a:pt x="4288" y="288"/>
                  </a:lnTo>
                  <a:lnTo>
                    <a:pt x="4222" y="346"/>
                  </a:lnTo>
                  <a:lnTo>
                    <a:pt x="4154" y="403"/>
                  </a:lnTo>
                  <a:lnTo>
                    <a:pt x="4086" y="461"/>
                  </a:lnTo>
                  <a:lnTo>
                    <a:pt x="4016" y="519"/>
                  </a:lnTo>
                  <a:lnTo>
                    <a:pt x="3946" y="576"/>
                  </a:lnTo>
                  <a:lnTo>
                    <a:pt x="3874" y="634"/>
                  </a:lnTo>
                  <a:lnTo>
                    <a:pt x="3800" y="691"/>
                  </a:lnTo>
                  <a:lnTo>
                    <a:pt x="3726" y="749"/>
                  </a:lnTo>
                  <a:lnTo>
                    <a:pt x="3649" y="808"/>
                  </a:lnTo>
                  <a:lnTo>
                    <a:pt x="3572" y="865"/>
                  </a:lnTo>
                  <a:lnTo>
                    <a:pt x="3494" y="923"/>
                  </a:lnTo>
                  <a:lnTo>
                    <a:pt x="3414" y="981"/>
                  </a:lnTo>
                  <a:lnTo>
                    <a:pt x="3334" y="1038"/>
                  </a:lnTo>
                  <a:lnTo>
                    <a:pt x="3251" y="1096"/>
                  </a:lnTo>
                  <a:lnTo>
                    <a:pt x="3167" y="1153"/>
                  </a:lnTo>
                  <a:lnTo>
                    <a:pt x="3083" y="1211"/>
                  </a:lnTo>
                  <a:lnTo>
                    <a:pt x="2996" y="1269"/>
                  </a:lnTo>
                  <a:lnTo>
                    <a:pt x="2909" y="1326"/>
                  </a:lnTo>
                  <a:lnTo>
                    <a:pt x="2821" y="1384"/>
                  </a:lnTo>
                  <a:lnTo>
                    <a:pt x="2640" y="1498"/>
                  </a:lnTo>
                  <a:lnTo>
                    <a:pt x="2454" y="1613"/>
                  </a:lnTo>
                  <a:lnTo>
                    <a:pt x="2263" y="1727"/>
                  </a:lnTo>
                  <a:lnTo>
                    <a:pt x="2068" y="1841"/>
                  </a:lnTo>
                  <a:lnTo>
                    <a:pt x="2068" y="1841"/>
                  </a:lnTo>
                  <a:lnTo>
                    <a:pt x="1936" y="1915"/>
                  </a:lnTo>
                  <a:lnTo>
                    <a:pt x="1805" y="1990"/>
                  </a:lnTo>
                  <a:lnTo>
                    <a:pt x="1674" y="2062"/>
                  </a:lnTo>
                  <a:lnTo>
                    <a:pt x="1542" y="2133"/>
                  </a:lnTo>
                  <a:lnTo>
                    <a:pt x="1412" y="2201"/>
                  </a:lnTo>
                  <a:lnTo>
                    <a:pt x="1282" y="2269"/>
                  </a:lnTo>
                  <a:lnTo>
                    <a:pt x="1151" y="2335"/>
                  </a:lnTo>
                  <a:lnTo>
                    <a:pt x="1021" y="2401"/>
                  </a:lnTo>
                  <a:lnTo>
                    <a:pt x="892" y="2464"/>
                  </a:lnTo>
                  <a:lnTo>
                    <a:pt x="763" y="2526"/>
                  </a:lnTo>
                  <a:lnTo>
                    <a:pt x="635" y="2587"/>
                  </a:lnTo>
                  <a:lnTo>
                    <a:pt x="506" y="2646"/>
                  </a:lnTo>
                  <a:lnTo>
                    <a:pt x="379" y="2704"/>
                  </a:lnTo>
                  <a:lnTo>
                    <a:pt x="252" y="2759"/>
                  </a:lnTo>
                  <a:lnTo>
                    <a:pt x="126" y="2814"/>
                  </a:lnTo>
                  <a:lnTo>
                    <a:pt x="0" y="2867"/>
                  </a:lnTo>
                  <a:lnTo>
                    <a:pt x="2354" y="2867"/>
                  </a:lnTo>
                  <a:lnTo>
                    <a:pt x="2354" y="2867"/>
                  </a:lnTo>
                  <a:lnTo>
                    <a:pt x="2538" y="2760"/>
                  </a:lnTo>
                  <a:lnTo>
                    <a:pt x="2630" y="2706"/>
                  </a:lnTo>
                  <a:lnTo>
                    <a:pt x="2723" y="2652"/>
                  </a:lnTo>
                  <a:lnTo>
                    <a:pt x="2723" y="2652"/>
                  </a:lnTo>
                  <a:lnTo>
                    <a:pt x="2858" y="2569"/>
                  </a:lnTo>
                  <a:lnTo>
                    <a:pt x="2992" y="2485"/>
                  </a:lnTo>
                  <a:lnTo>
                    <a:pt x="3124" y="2401"/>
                  </a:lnTo>
                  <a:lnTo>
                    <a:pt x="3252" y="2315"/>
                  </a:lnTo>
                  <a:lnTo>
                    <a:pt x="3378" y="2229"/>
                  </a:lnTo>
                  <a:lnTo>
                    <a:pt x="3503" y="2141"/>
                  </a:lnTo>
                  <a:lnTo>
                    <a:pt x="3624" y="2051"/>
                  </a:lnTo>
                  <a:lnTo>
                    <a:pt x="3743" y="1962"/>
                  </a:lnTo>
                  <a:lnTo>
                    <a:pt x="3859" y="1871"/>
                  </a:lnTo>
                  <a:lnTo>
                    <a:pt x="3972" y="1780"/>
                  </a:lnTo>
                  <a:lnTo>
                    <a:pt x="4084" y="1687"/>
                  </a:lnTo>
                  <a:lnTo>
                    <a:pt x="4192" y="1594"/>
                  </a:lnTo>
                  <a:lnTo>
                    <a:pt x="4297" y="1500"/>
                  </a:lnTo>
                  <a:lnTo>
                    <a:pt x="4399" y="1407"/>
                  </a:lnTo>
                  <a:lnTo>
                    <a:pt x="4499" y="1311"/>
                  </a:lnTo>
                  <a:lnTo>
                    <a:pt x="4596" y="1216"/>
                  </a:lnTo>
                  <a:lnTo>
                    <a:pt x="4596" y="0"/>
                  </a:lnTo>
                  <a:close/>
                </a:path>
              </a:pathLst>
            </a:custGeom>
            <a:solidFill>
              <a:srgbClr val="00C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8458200" y="4114800"/>
              <a:ext cx="3733800" cy="2743200"/>
            </a:xfrm>
            <a:custGeom>
              <a:avLst/>
              <a:gdLst>
                <a:gd name="T0" fmla="*/ 773 w 2352"/>
                <a:gd name="T1" fmla="*/ 1728 h 1728"/>
                <a:gd name="T2" fmla="*/ 773 w 2352"/>
                <a:gd name="T3" fmla="*/ 1728 h 1728"/>
                <a:gd name="T4" fmla="*/ 887 w 2352"/>
                <a:gd name="T5" fmla="*/ 1652 h 1728"/>
                <a:gd name="T6" fmla="*/ 998 w 2352"/>
                <a:gd name="T7" fmla="*/ 1576 h 1728"/>
                <a:gd name="T8" fmla="*/ 1109 w 2352"/>
                <a:gd name="T9" fmla="*/ 1499 h 1728"/>
                <a:gd name="T10" fmla="*/ 1217 w 2352"/>
                <a:gd name="T11" fmla="*/ 1421 h 1728"/>
                <a:gd name="T12" fmla="*/ 1322 w 2352"/>
                <a:gd name="T13" fmla="*/ 1343 h 1728"/>
                <a:gd name="T14" fmla="*/ 1427 w 2352"/>
                <a:gd name="T15" fmla="*/ 1265 h 1728"/>
                <a:gd name="T16" fmla="*/ 1529 w 2352"/>
                <a:gd name="T17" fmla="*/ 1186 h 1728"/>
                <a:gd name="T18" fmla="*/ 1628 w 2352"/>
                <a:gd name="T19" fmla="*/ 1106 h 1728"/>
                <a:gd name="T20" fmla="*/ 1726 w 2352"/>
                <a:gd name="T21" fmla="*/ 1027 h 1728"/>
                <a:gd name="T22" fmla="*/ 1822 w 2352"/>
                <a:gd name="T23" fmla="*/ 947 h 1728"/>
                <a:gd name="T24" fmla="*/ 1915 w 2352"/>
                <a:gd name="T25" fmla="*/ 866 h 1728"/>
                <a:gd name="T26" fmla="*/ 2008 w 2352"/>
                <a:gd name="T27" fmla="*/ 786 h 1728"/>
                <a:gd name="T28" fmla="*/ 2096 w 2352"/>
                <a:gd name="T29" fmla="*/ 704 h 1728"/>
                <a:gd name="T30" fmla="*/ 2184 w 2352"/>
                <a:gd name="T31" fmla="*/ 624 h 1728"/>
                <a:gd name="T32" fmla="*/ 2269 w 2352"/>
                <a:gd name="T33" fmla="*/ 542 h 1728"/>
                <a:gd name="T34" fmla="*/ 2352 w 2352"/>
                <a:gd name="T35" fmla="*/ 461 h 1728"/>
                <a:gd name="T36" fmla="*/ 2352 w 2352"/>
                <a:gd name="T37" fmla="*/ 0 h 1728"/>
                <a:gd name="T38" fmla="*/ 2352 w 2352"/>
                <a:gd name="T39" fmla="*/ 0 h 1728"/>
                <a:gd name="T40" fmla="*/ 2254 w 2352"/>
                <a:gd name="T41" fmla="*/ 97 h 1728"/>
                <a:gd name="T42" fmla="*/ 2153 w 2352"/>
                <a:gd name="T43" fmla="*/ 194 h 1728"/>
                <a:gd name="T44" fmla="*/ 2050 w 2352"/>
                <a:gd name="T45" fmla="*/ 290 h 1728"/>
                <a:gd name="T46" fmla="*/ 1943 w 2352"/>
                <a:gd name="T47" fmla="*/ 386 h 1728"/>
                <a:gd name="T48" fmla="*/ 1834 w 2352"/>
                <a:gd name="T49" fmla="*/ 481 h 1728"/>
                <a:gd name="T50" fmla="*/ 1721 w 2352"/>
                <a:gd name="T51" fmla="*/ 576 h 1728"/>
                <a:gd name="T52" fmla="*/ 1606 w 2352"/>
                <a:gd name="T53" fmla="*/ 670 h 1728"/>
                <a:gd name="T54" fmla="*/ 1488 w 2352"/>
                <a:gd name="T55" fmla="*/ 762 h 1728"/>
                <a:gd name="T56" fmla="*/ 1368 w 2352"/>
                <a:gd name="T57" fmla="*/ 853 h 1728"/>
                <a:gd name="T58" fmla="*/ 1244 w 2352"/>
                <a:gd name="T59" fmla="*/ 944 h 1728"/>
                <a:gd name="T60" fmla="*/ 1118 w 2352"/>
                <a:gd name="T61" fmla="*/ 1034 h 1728"/>
                <a:gd name="T62" fmla="*/ 990 w 2352"/>
                <a:gd name="T63" fmla="*/ 1123 h 1728"/>
                <a:gd name="T64" fmla="*/ 859 w 2352"/>
                <a:gd name="T65" fmla="*/ 1211 h 1728"/>
                <a:gd name="T66" fmla="*/ 725 w 2352"/>
                <a:gd name="T67" fmla="*/ 1297 h 1728"/>
                <a:gd name="T68" fmla="*/ 589 w 2352"/>
                <a:gd name="T69" fmla="*/ 1382 h 1728"/>
                <a:gd name="T70" fmla="*/ 451 w 2352"/>
                <a:gd name="T71" fmla="*/ 1466 h 1728"/>
                <a:gd name="T72" fmla="*/ 451 w 2352"/>
                <a:gd name="T73" fmla="*/ 1466 h 1728"/>
                <a:gd name="T74" fmla="*/ 337 w 2352"/>
                <a:gd name="T75" fmla="*/ 1532 h 1728"/>
                <a:gd name="T76" fmla="*/ 224 w 2352"/>
                <a:gd name="T77" fmla="*/ 1598 h 1728"/>
                <a:gd name="T78" fmla="*/ 0 w 2352"/>
                <a:gd name="T79" fmla="*/ 1728 h 1728"/>
                <a:gd name="T80" fmla="*/ 773 w 2352"/>
                <a:gd name="T81" fmla="*/ 1728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352" h="1728">
                  <a:moveTo>
                    <a:pt x="773" y="1728"/>
                  </a:moveTo>
                  <a:lnTo>
                    <a:pt x="773" y="1728"/>
                  </a:lnTo>
                  <a:lnTo>
                    <a:pt x="887" y="1652"/>
                  </a:lnTo>
                  <a:lnTo>
                    <a:pt x="998" y="1576"/>
                  </a:lnTo>
                  <a:lnTo>
                    <a:pt x="1109" y="1499"/>
                  </a:lnTo>
                  <a:lnTo>
                    <a:pt x="1217" y="1421"/>
                  </a:lnTo>
                  <a:lnTo>
                    <a:pt x="1322" y="1343"/>
                  </a:lnTo>
                  <a:lnTo>
                    <a:pt x="1427" y="1265"/>
                  </a:lnTo>
                  <a:lnTo>
                    <a:pt x="1529" y="1186"/>
                  </a:lnTo>
                  <a:lnTo>
                    <a:pt x="1628" y="1106"/>
                  </a:lnTo>
                  <a:lnTo>
                    <a:pt x="1726" y="1027"/>
                  </a:lnTo>
                  <a:lnTo>
                    <a:pt x="1822" y="947"/>
                  </a:lnTo>
                  <a:lnTo>
                    <a:pt x="1915" y="866"/>
                  </a:lnTo>
                  <a:lnTo>
                    <a:pt x="2008" y="786"/>
                  </a:lnTo>
                  <a:lnTo>
                    <a:pt x="2096" y="704"/>
                  </a:lnTo>
                  <a:lnTo>
                    <a:pt x="2184" y="624"/>
                  </a:lnTo>
                  <a:lnTo>
                    <a:pt x="2269" y="542"/>
                  </a:lnTo>
                  <a:lnTo>
                    <a:pt x="2352" y="461"/>
                  </a:lnTo>
                  <a:lnTo>
                    <a:pt x="2352" y="0"/>
                  </a:lnTo>
                  <a:lnTo>
                    <a:pt x="2352" y="0"/>
                  </a:lnTo>
                  <a:lnTo>
                    <a:pt x="2254" y="97"/>
                  </a:lnTo>
                  <a:lnTo>
                    <a:pt x="2153" y="194"/>
                  </a:lnTo>
                  <a:lnTo>
                    <a:pt x="2050" y="290"/>
                  </a:lnTo>
                  <a:lnTo>
                    <a:pt x="1943" y="386"/>
                  </a:lnTo>
                  <a:lnTo>
                    <a:pt x="1834" y="481"/>
                  </a:lnTo>
                  <a:lnTo>
                    <a:pt x="1721" y="576"/>
                  </a:lnTo>
                  <a:lnTo>
                    <a:pt x="1606" y="670"/>
                  </a:lnTo>
                  <a:lnTo>
                    <a:pt x="1488" y="762"/>
                  </a:lnTo>
                  <a:lnTo>
                    <a:pt x="1368" y="853"/>
                  </a:lnTo>
                  <a:lnTo>
                    <a:pt x="1244" y="944"/>
                  </a:lnTo>
                  <a:lnTo>
                    <a:pt x="1118" y="1034"/>
                  </a:lnTo>
                  <a:lnTo>
                    <a:pt x="990" y="1123"/>
                  </a:lnTo>
                  <a:lnTo>
                    <a:pt x="859" y="1211"/>
                  </a:lnTo>
                  <a:lnTo>
                    <a:pt x="725" y="1297"/>
                  </a:lnTo>
                  <a:lnTo>
                    <a:pt x="589" y="1382"/>
                  </a:lnTo>
                  <a:lnTo>
                    <a:pt x="451" y="1466"/>
                  </a:lnTo>
                  <a:lnTo>
                    <a:pt x="451" y="1466"/>
                  </a:lnTo>
                  <a:lnTo>
                    <a:pt x="337" y="1532"/>
                  </a:lnTo>
                  <a:lnTo>
                    <a:pt x="224" y="1598"/>
                  </a:lnTo>
                  <a:lnTo>
                    <a:pt x="0" y="1728"/>
                  </a:lnTo>
                  <a:lnTo>
                    <a:pt x="773" y="1728"/>
                  </a:lnTo>
                  <a:close/>
                </a:path>
              </a:pathLst>
            </a:custGeom>
            <a:solidFill>
              <a:srgbClr val="009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0" y="0"/>
              <a:ext cx="12192000" cy="6858000"/>
            </a:xfrm>
            <a:custGeom>
              <a:avLst/>
              <a:gdLst>
                <a:gd name="T0" fmla="*/ 5286 w 7680"/>
                <a:gd name="T1" fmla="*/ 0 h 4320"/>
                <a:gd name="T2" fmla="*/ 5170 w 7680"/>
                <a:gd name="T3" fmla="*/ 78 h 4320"/>
                <a:gd name="T4" fmla="*/ 4931 w 7680"/>
                <a:gd name="T5" fmla="*/ 232 h 4320"/>
                <a:gd name="T6" fmla="*/ 4684 w 7680"/>
                <a:gd name="T7" fmla="*/ 385 h 4320"/>
                <a:gd name="T8" fmla="*/ 4428 w 7680"/>
                <a:gd name="T9" fmla="*/ 536 h 4320"/>
                <a:gd name="T10" fmla="*/ 4165 w 7680"/>
                <a:gd name="T11" fmla="*/ 684 h 4320"/>
                <a:gd name="T12" fmla="*/ 3895 w 7680"/>
                <a:gd name="T13" fmla="*/ 830 h 4320"/>
                <a:gd name="T14" fmla="*/ 3619 w 7680"/>
                <a:gd name="T15" fmla="*/ 972 h 4320"/>
                <a:gd name="T16" fmla="*/ 3338 w 7680"/>
                <a:gd name="T17" fmla="*/ 1110 h 4320"/>
                <a:gd name="T18" fmla="*/ 3196 w 7680"/>
                <a:gd name="T19" fmla="*/ 1178 h 4320"/>
                <a:gd name="T20" fmla="*/ 2759 w 7680"/>
                <a:gd name="T21" fmla="*/ 1378 h 4320"/>
                <a:gd name="T22" fmla="*/ 2329 w 7680"/>
                <a:gd name="T23" fmla="*/ 1562 h 4320"/>
                <a:gd name="T24" fmla="*/ 1909 w 7680"/>
                <a:gd name="T25" fmla="*/ 1732 h 4320"/>
                <a:gd name="T26" fmla="*/ 1501 w 7680"/>
                <a:gd name="T27" fmla="*/ 1885 h 4320"/>
                <a:gd name="T28" fmla="*/ 1104 w 7680"/>
                <a:gd name="T29" fmla="*/ 2022 h 4320"/>
                <a:gd name="T30" fmla="*/ 911 w 7680"/>
                <a:gd name="T31" fmla="*/ 2084 h 4320"/>
                <a:gd name="T32" fmla="*/ 721 w 7680"/>
                <a:gd name="T33" fmla="*/ 2142 h 4320"/>
                <a:gd name="T34" fmla="*/ 534 w 7680"/>
                <a:gd name="T35" fmla="*/ 2196 h 4320"/>
                <a:gd name="T36" fmla="*/ 353 w 7680"/>
                <a:gd name="T37" fmla="*/ 2246 h 4320"/>
                <a:gd name="T38" fmla="*/ 174 w 7680"/>
                <a:gd name="T39" fmla="*/ 2291 h 4320"/>
                <a:gd name="T40" fmla="*/ 0 w 7680"/>
                <a:gd name="T41" fmla="*/ 2332 h 4320"/>
                <a:gd name="T42" fmla="*/ 3224 w 7680"/>
                <a:gd name="T43" fmla="*/ 4320 h 4320"/>
                <a:gd name="T44" fmla="*/ 3344 w 7680"/>
                <a:gd name="T45" fmla="*/ 4268 h 4320"/>
                <a:gd name="T46" fmla="*/ 3584 w 7680"/>
                <a:gd name="T47" fmla="*/ 4163 h 4320"/>
                <a:gd name="T48" fmla="*/ 3826 w 7680"/>
                <a:gd name="T49" fmla="*/ 4050 h 4320"/>
                <a:gd name="T50" fmla="*/ 4069 w 7680"/>
                <a:gd name="T51" fmla="*/ 3934 h 4320"/>
                <a:gd name="T52" fmla="*/ 4314 w 7680"/>
                <a:gd name="T53" fmla="*/ 3811 h 4320"/>
                <a:gd name="T54" fmla="*/ 4560 w 7680"/>
                <a:gd name="T55" fmla="*/ 3683 h 4320"/>
                <a:gd name="T56" fmla="*/ 4807 w 7680"/>
                <a:gd name="T57" fmla="*/ 3550 h 4320"/>
                <a:gd name="T58" fmla="*/ 5054 w 7680"/>
                <a:gd name="T59" fmla="*/ 3413 h 4320"/>
                <a:gd name="T60" fmla="*/ 5179 w 7680"/>
                <a:gd name="T61" fmla="*/ 3342 h 4320"/>
                <a:gd name="T62" fmla="*/ 5560 w 7680"/>
                <a:gd name="T63" fmla="*/ 3118 h 4320"/>
                <a:gd name="T64" fmla="*/ 5921 w 7680"/>
                <a:gd name="T65" fmla="*/ 2892 h 4320"/>
                <a:gd name="T66" fmla="*/ 6263 w 7680"/>
                <a:gd name="T67" fmla="*/ 2665 h 4320"/>
                <a:gd name="T68" fmla="*/ 6506 w 7680"/>
                <a:gd name="T69" fmla="*/ 2495 h 4320"/>
                <a:gd name="T70" fmla="*/ 6662 w 7680"/>
                <a:gd name="T71" fmla="*/ 2381 h 4320"/>
                <a:gd name="T72" fmla="*/ 6815 w 7680"/>
                <a:gd name="T73" fmla="*/ 2267 h 4320"/>
                <a:gd name="T74" fmla="*/ 6961 w 7680"/>
                <a:gd name="T75" fmla="*/ 2153 h 4320"/>
                <a:gd name="T76" fmla="*/ 7103 w 7680"/>
                <a:gd name="T77" fmla="*/ 2040 h 4320"/>
                <a:gd name="T78" fmla="*/ 7240 w 7680"/>
                <a:gd name="T79" fmla="*/ 1926 h 4320"/>
                <a:gd name="T80" fmla="*/ 7372 w 7680"/>
                <a:gd name="T81" fmla="*/ 1812 h 4320"/>
                <a:gd name="T82" fmla="*/ 7499 w 7680"/>
                <a:gd name="T83" fmla="*/ 1698 h 4320"/>
                <a:gd name="T84" fmla="*/ 7621 w 7680"/>
                <a:gd name="T85" fmla="*/ 1584 h 4320"/>
                <a:gd name="T86" fmla="*/ 7680 w 7680"/>
                <a:gd name="T87" fmla="*/ 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680" h="4320">
                  <a:moveTo>
                    <a:pt x="7680" y="0"/>
                  </a:moveTo>
                  <a:lnTo>
                    <a:pt x="5286" y="0"/>
                  </a:lnTo>
                  <a:lnTo>
                    <a:pt x="5286" y="0"/>
                  </a:lnTo>
                  <a:lnTo>
                    <a:pt x="5170" y="78"/>
                  </a:lnTo>
                  <a:lnTo>
                    <a:pt x="5051" y="155"/>
                  </a:lnTo>
                  <a:lnTo>
                    <a:pt x="4931" y="232"/>
                  </a:lnTo>
                  <a:lnTo>
                    <a:pt x="4808" y="308"/>
                  </a:lnTo>
                  <a:lnTo>
                    <a:pt x="4684" y="385"/>
                  </a:lnTo>
                  <a:lnTo>
                    <a:pt x="4556" y="461"/>
                  </a:lnTo>
                  <a:lnTo>
                    <a:pt x="4428" y="536"/>
                  </a:lnTo>
                  <a:lnTo>
                    <a:pt x="4297" y="611"/>
                  </a:lnTo>
                  <a:lnTo>
                    <a:pt x="4165" y="684"/>
                  </a:lnTo>
                  <a:lnTo>
                    <a:pt x="4031" y="757"/>
                  </a:lnTo>
                  <a:lnTo>
                    <a:pt x="3895" y="830"/>
                  </a:lnTo>
                  <a:lnTo>
                    <a:pt x="3758" y="901"/>
                  </a:lnTo>
                  <a:lnTo>
                    <a:pt x="3619" y="972"/>
                  </a:lnTo>
                  <a:lnTo>
                    <a:pt x="3480" y="1042"/>
                  </a:lnTo>
                  <a:lnTo>
                    <a:pt x="3338" y="1110"/>
                  </a:lnTo>
                  <a:lnTo>
                    <a:pt x="3196" y="1178"/>
                  </a:lnTo>
                  <a:lnTo>
                    <a:pt x="3196" y="1178"/>
                  </a:lnTo>
                  <a:lnTo>
                    <a:pt x="2976" y="1279"/>
                  </a:lnTo>
                  <a:lnTo>
                    <a:pt x="2759" y="1378"/>
                  </a:lnTo>
                  <a:lnTo>
                    <a:pt x="2543" y="1472"/>
                  </a:lnTo>
                  <a:lnTo>
                    <a:pt x="2329" y="1562"/>
                  </a:lnTo>
                  <a:lnTo>
                    <a:pt x="2118" y="1649"/>
                  </a:lnTo>
                  <a:lnTo>
                    <a:pt x="1909" y="1732"/>
                  </a:lnTo>
                  <a:lnTo>
                    <a:pt x="1704" y="1810"/>
                  </a:lnTo>
                  <a:lnTo>
                    <a:pt x="1501" y="1885"/>
                  </a:lnTo>
                  <a:lnTo>
                    <a:pt x="1301" y="1955"/>
                  </a:lnTo>
                  <a:lnTo>
                    <a:pt x="1104" y="2022"/>
                  </a:lnTo>
                  <a:lnTo>
                    <a:pt x="1007" y="2053"/>
                  </a:lnTo>
                  <a:lnTo>
                    <a:pt x="911" y="2084"/>
                  </a:lnTo>
                  <a:lnTo>
                    <a:pt x="815" y="2114"/>
                  </a:lnTo>
                  <a:lnTo>
                    <a:pt x="721" y="2142"/>
                  </a:lnTo>
                  <a:lnTo>
                    <a:pt x="628" y="2170"/>
                  </a:lnTo>
                  <a:lnTo>
                    <a:pt x="534" y="2196"/>
                  </a:lnTo>
                  <a:lnTo>
                    <a:pt x="443" y="2221"/>
                  </a:lnTo>
                  <a:lnTo>
                    <a:pt x="353" y="2246"/>
                  </a:lnTo>
                  <a:lnTo>
                    <a:pt x="263" y="2269"/>
                  </a:lnTo>
                  <a:lnTo>
                    <a:pt x="174" y="2291"/>
                  </a:lnTo>
                  <a:lnTo>
                    <a:pt x="86" y="2312"/>
                  </a:lnTo>
                  <a:lnTo>
                    <a:pt x="0" y="2332"/>
                  </a:lnTo>
                  <a:lnTo>
                    <a:pt x="0" y="4320"/>
                  </a:lnTo>
                  <a:lnTo>
                    <a:pt x="3224" y="4320"/>
                  </a:lnTo>
                  <a:lnTo>
                    <a:pt x="3224" y="4320"/>
                  </a:lnTo>
                  <a:lnTo>
                    <a:pt x="3344" y="4268"/>
                  </a:lnTo>
                  <a:lnTo>
                    <a:pt x="3463" y="4217"/>
                  </a:lnTo>
                  <a:lnTo>
                    <a:pt x="3584" y="4163"/>
                  </a:lnTo>
                  <a:lnTo>
                    <a:pt x="3704" y="4108"/>
                  </a:lnTo>
                  <a:lnTo>
                    <a:pt x="3826" y="4050"/>
                  </a:lnTo>
                  <a:lnTo>
                    <a:pt x="3948" y="3992"/>
                  </a:lnTo>
                  <a:lnTo>
                    <a:pt x="4069" y="3934"/>
                  </a:lnTo>
                  <a:lnTo>
                    <a:pt x="4192" y="3872"/>
                  </a:lnTo>
                  <a:lnTo>
                    <a:pt x="4314" y="3811"/>
                  </a:lnTo>
                  <a:lnTo>
                    <a:pt x="4436" y="3748"/>
                  </a:lnTo>
                  <a:lnTo>
                    <a:pt x="4560" y="3683"/>
                  </a:lnTo>
                  <a:lnTo>
                    <a:pt x="4684" y="3617"/>
                  </a:lnTo>
                  <a:lnTo>
                    <a:pt x="4807" y="3550"/>
                  </a:lnTo>
                  <a:lnTo>
                    <a:pt x="4931" y="3481"/>
                  </a:lnTo>
                  <a:lnTo>
                    <a:pt x="5054" y="3413"/>
                  </a:lnTo>
                  <a:lnTo>
                    <a:pt x="5179" y="3342"/>
                  </a:lnTo>
                  <a:lnTo>
                    <a:pt x="5179" y="3342"/>
                  </a:lnTo>
                  <a:lnTo>
                    <a:pt x="5371" y="3229"/>
                  </a:lnTo>
                  <a:lnTo>
                    <a:pt x="5560" y="3118"/>
                  </a:lnTo>
                  <a:lnTo>
                    <a:pt x="5742" y="3005"/>
                  </a:lnTo>
                  <a:lnTo>
                    <a:pt x="5921" y="2892"/>
                  </a:lnTo>
                  <a:lnTo>
                    <a:pt x="6094" y="2778"/>
                  </a:lnTo>
                  <a:lnTo>
                    <a:pt x="6263" y="2665"/>
                  </a:lnTo>
                  <a:lnTo>
                    <a:pt x="6426" y="2551"/>
                  </a:lnTo>
                  <a:lnTo>
                    <a:pt x="6506" y="2495"/>
                  </a:lnTo>
                  <a:lnTo>
                    <a:pt x="6586" y="2437"/>
                  </a:lnTo>
                  <a:lnTo>
                    <a:pt x="6662" y="2381"/>
                  </a:lnTo>
                  <a:lnTo>
                    <a:pt x="6739" y="2324"/>
                  </a:lnTo>
                  <a:lnTo>
                    <a:pt x="6815" y="2267"/>
                  </a:lnTo>
                  <a:lnTo>
                    <a:pt x="6888" y="2210"/>
                  </a:lnTo>
                  <a:lnTo>
                    <a:pt x="6961" y="2153"/>
                  </a:lnTo>
                  <a:lnTo>
                    <a:pt x="7033" y="2096"/>
                  </a:lnTo>
                  <a:lnTo>
                    <a:pt x="7103" y="2040"/>
                  </a:lnTo>
                  <a:lnTo>
                    <a:pt x="7172" y="1982"/>
                  </a:lnTo>
                  <a:lnTo>
                    <a:pt x="7240" y="1926"/>
                  </a:lnTo>
                  <a:lnTo>
                    <a:pt x="7307" y="1868"/>
                  </a:lnTo>
                  <a:lnTo>
                    <a:pt x="7372" y="1812"/>
                  </a:lnTo>
                  <a:lnTo>
                    <a:pt x="7436" y="1754"/>
                  </a:lnTo>
                  <a:lnTo>
                    <a:pt x="7499" y="1698"/>
                  </a:lnTo>
                  <a:lnTo>
                    <a:pt x="7560" y="1642"/>
                  </a:lnTo>
                  <a:lnTo>
                    <a:pt x="7621" y="1584"/>
                  </a:lnTo>
                  <a:lnTo>
                    <a:pt x="7680" y="1528"/>
                  </a:lnTo>
                  <a:lnTo>
                    <a:pt x="7680" y="0"/>
                  </a:lnTo>
                  <a:close/>
                </a:path>
              </a:pathLst>
            </a:custGeom>
            <a:solidFill>
              <a:srgbClr val="990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526588" y="4725988"/>
              <a:ext cx="2665413" cy="2132013"/>
            </a:xfrm>
            <a:custGeom>
              <a:avLst/>
              <a:gdLst>
                <a:gd name="T0" fmla="*/ 1679 w 1679"/>
                <a:gd name="T1" fmla="*/ 1343 h 1343"/>
                <a:gd name="T2" fmla="*/ 1679 w 1679"/>
                <a:gd name="T3" fmla="*/ 0 h 1343"/>
                <a:gd name="T4" fmla="*/ 1679 w 1679"/>
                <a:gd name="T5" fmla="*/ 0 h 1343"/>
                <a:gd name="T6" fmla="*/ 1593 w 1679"/>
                <a:gd name="T7" fmla="*/ 85 h 1343"/>
                <a:gd name="T8" fmla="*/ 1503 w 1679"/>
                <a:gd name="T9" fmla="*/ 172 h 1343"/>
                <a:gd name="T10" fmla="*/ 1411 w 1679"/>
                <a:gd name="T11" fmla="*/ 258 h 1343"/>
                <a:gd name="T12" fmla="*/ 1317 w 1679"/>
                <a:gd name="T13" fmla="*/ 343 h 1343"/>
                <a:gd name="T14" fmla="*/ 1221 w 1679"/>
                <a:gd name="T15" fmla="*/ 429 h 1343"/>
                <a:gd name="T16" fmla="*/ 1121 w 1679"/>
                <a:gd name="T17" fmla="*/ 514 h 1343"/>
                <a:gd name="T18" fmla="*/ 1020 w 1679"/>
                <a:gd name="T19" fmla="*/ 598 h 1343"/>
                <a:gd name="T20" fmla="*/ 916 w 1679"/>
                <a:gd name="T21" fmla="*/ 683 h 1343"/>
                <a:gd name="T22" fmla="*/ 810 w 1679"/>
                <a:gd name="T23" fmla="*/ 766 h 1343"/>
                <a:gd name="T24" fmla="*/ 701 w 1679"/>
                <a:gd name="T25" fmla="*/ 850 h 1343"/>
                <a:gd name="T26" fmla="*/ 591 w 1679"/>
                <a:gd name="T27" fmla="*/ 933 h 1343"/>
                <a:gd name="T28" fmla="*/ 478 w 1679"/>
                <a:gd name="T29" fmla="*/ 1015 h 1343"/>
                <a:gd name="T30" fmla="*/ 363 w 1679"/>
                <a:gd name="T31" fmla="*/ 1097 h 1343"/>
                <a:gd name="T32" fmla="*/ 245 w 1679"/>
                <a:gd name="T33" fmla="*/ 1180 h 1343"/>
                <a:gd name="T34" fmla="*/ 125 w 1679"/>
                <a:gd name="T35" fmla="*/ 1260 h 1343"/>
                <a:gd name="T36" fmla="*/ 3 w 1679"/>
                <a:gd name="T37" fmla="*/ 1341 h 1343"/>
                <a:gd name="T38" fmla="*/ 3 w 1679"/>
                <a:gd name="T39" fmla="*/ 1341 h 1343"/>
                <a:gd name="T40" fmla="*/ 1 w 1679"/>
                <a:gd name="T41" fmla="*/ 1342 h 1343"/>
                <a:gd name="T42" fmla="*/ 0 w 1679"/>
                <a:gd name="T43" fmla="*/ 1343 h 1343"/>
                <a:gd name="T44" fmla="*/ 1679 w 1679"/>
                <a:gd name="T45" fmla="*/ 1343 h 1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79" h="1343">
                  <a:moveTo>
                    <a:pt x="1679" y="1343"/>
                  </a:moveTo>
                  <a:lnTo>
                    <a:pt x="1679" y="0"/>
                  </a:lnTo>
                  <a:lnTo>
                    <a:pt x="1679" y="0"/>
                  </a:lnTo>
                  <a:lnTo>
                    <a:pt x="1593" y="85"/>
                  </a:lnTo>
                  <a:lnTo>
                    <a:pt x="1503" y="172"/>
                  </a:lnTo>
                  <a:lnTo>
                    <a:pt x="1411" y="258"/>
                  </a:lnTo>
                  <a:lnTo>
                    <a:pt x="1317" y="343"/>
                  </a:lnTo>
                  <a:lnTo>
                    <a:pt x="1221" y="429"/>
                  </a:lnTo>
                  <a:lnTo>
                    <a:pt x="1121" y="514"/>
                  </a:lnTo>
                  <a:lnTo>
                    <a:pt x="1020" y="598"/>
                  </a:lnTo>
                  <a:lnTo>
                    <a:pt x="916" y="683"/>
                  </a:lnTo>
                  <a:lnTo>
                    <a:pt x="810" y="766"/>
                  </a:lnTo>
                  <a:lnTo>
                    <a:pt x="701" y="850"/>
                  </a:lnTo>
                  <a:lnTo>
                    <a:pt x="591" y="933"/>
                  </a:lnTo>
                  <a:lnTo>
                    <a:pt x="478" y="1015"/>
                  </a:lnTo>
                  <a:lnTo>
                    <a:pt x="363" y="1097"/>
                  </a:lnTo>
                  <a:lnTo>
                    <a:pt x="245" y="1180"/>
                  </a:lnTo>
                  <a:lnTo>
                    <a:pt x="125" y="1260"/>
                  </a:lnTo>
                  <a:lnTo>
                    <a:pt x="3" y="1341"/>
                  </a:lnTo>
                  <a:lnTo>
                    <a:pt x="3" y="1341"/>
                  </a:lnTo>
                  <a:lnTo>
                    <a:pt x="1" y="1342"/>
                  </a:lnTo>
                  <a:lnTo>
                    <a:pt x="0" y="1343"/>
                  </a:lnTo>
                  <a:lnTo>
                    <a:pt x="1679" y="1343"/>
                  </a:lnTo>
                  <a:close/>
                </a:path>
              </a:pathLst>
            </a:custGeom>
            <a:solidFill>
              <a:srgbClr val="00C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358775" y="358775"/>
            <a:ext cx="8602663" cy="4367213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38" y="6172199"/>
            <a:ext cx="12191762" cy="6858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Date Placeholder 10"/>
          <p:cNvSpPr>
            <a:spLocks noGrp="1"/>
          </p:cNvSpPr>
          <p:nvPr>
            <p:ph type="dt" sz="half" idx="10"/>
          </p:nvPr>
        </p:nvSpPr>
        <p:spPr>
          <a:xfrm>
            <a:off x="978098" y="6438156"/>
            <a:ext cx="828000" cy="153888"/>
          </a:xfrm>
        </p:spPr>
        <p:txBody>
          <a:bodyPr/>
          <a:lstStyle/>
          <a:p>
            <a:fld id="{800C43A4-2EBF-4E8E-891F-5ABB0C59DC74}" type="datetime1">
              <a:rPr lang="en-GB" smtClean="0"/>
              <a:t>10/12/2017</a:t>
            </a:fld>
            <a:endParaRPr lang="en-GB" dirty="0"/>
          </a:p>
        </p:txBody>
      </p:sp>
      <p:sp>
        <p:nvSpPr>
          <p:cNvPr id="21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1806098" y="6438156"/>
            <a:ext cx="9255406" cy="153888"/>
          </a:xfrm>
        </p:spPr>
        <p:txBody>
          <a:bodyPr/>
          <a:lstStyle/>
          <a:p>
            <a:r>
              <a:rPr lang="en-US" smtClean="0"/>
              <a:t>PRESENTATION FOOTER</a:t>
            </a:r>
            <a:endParaRPr lang="en-GB" dirty="0"/>
          </a:p>
        </p:txBody>
      </p:sp>
      <p:sp>
        <p:nvSpPr>
          <p:cNvPr id="22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11061504" y="6438156"/>
            <a:ext cx="768545" cy="153888"/>
          </a:xfrm>
        </p:spPr>
        <p:txBody>
          <a:bodyPr/>
          <a:lstStyle/>
          <a:p>
            <a:fld id="{A92D7E8A-A0E3-4239-9A38-4F8DCAE2A92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6335485"/>
            <a:ext cx="345567" cy="361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703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itel ja sis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alkiri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smtClean="0"/>
              <a:t>Muutke tiitli laadi</a:t>
            </a:r>
            <a:endParaRPr lang="et-EE"/>
          </a:p>
        </p:txBody>
      </p:sp>
      <p:sp>
        <p:nvSpPr>
          <p:cNvPr id="3" name="Sisu kohatäid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t-EE" smtClean="0"/>
              <a:t>Muutke teksti laade</a:t>
            </a:r>
          </a:p>
          <a:p>
            <a:pPr lvl="1"/>
            <a:r>
              <a:rPr lang="et-EE" smtClean="0"/>
              <a:t>Teine tase</a:t>
            </a:r>
          </a:p>
          <a:p>
            <a:pPr lvl="2"/>
            <a:r>
              <a:rPr lang="et-EE" smtClean="0"/>
              <a:t>Kolmas tase</a:t>
            </a:r>
          </a:p>
          <a:p>
            <a:pPr lvl="3"/>
            <a:r>
              <a:rPr lang="et-EE" smtClean="0"/>
              <a:t>Neljas tase</a:t>
            </a:r>
          </a:p>
          <a:p>
            <a:pPr lvl="4"/>
            <a:r>
              <a:rPr lang="et-EE" smtClean="0"/>
              <a:t>Viies tase</a:t>
            </a:r>
            <a:endParaRPr lang="et-EE"/>
          </a:p>
        </p:txBody>
      </p:sp>
      <p:sp>
        <p:nvSpPr>
          <p:cNvPr id="4" name="Kuupäeva kohatäid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39538-0A52-4A03-89EE-A0C86D8CB9A5}" type="datetimeFigureOut">
              <a:rPr lang="et-EE" smtClean="0"/>
              <a:t>10.12.2017</a:t>
            </a:fld>
            <a:endParaRPr lang="et-EE"/>
          </a:p>
        </p:txBody>
      </p:sp>
      <p:sp>
        <p:nvSpPr>
          <p:cNvPr id="5" name="Jaluse kohatäid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6" name="Slaidinumbri kohatä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4B26F-86EF-4B08-A1C9-2BC127AE4407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14387112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1793875"/>
            <a:ext cx="5467350" cy="2719388"/>
          </a:xfrm>
        </p:spPr>
        <p:txBody>
          <a:bodyPr tIns="36000" rIns="180000" anchor="t">
            <a:noAutofit/>
          </a:bodyPr>
          <a:lstStyle>
            <a:lvl1pPr algn="l">
              <a:lnSpc>
                <a:spcPct val="85000"/>
              </a:lnSpc>
              <a:defRPr sz="600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163" y="4689476"/>
            <a:ext cx="5467350" cy="1271587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>
          <a:xfrm>
            <a:off x="538163" y="6421919"/>
            <a:ext cx="828000" cy="153888"/>
          </a:xfrm>
        </p:spPr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sv-SE" dirty="0">
              <a:solidFill>
                <a:prstClr val="black"/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6184901" y="1"/>
            <a:ext cx="6007100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725" y="165237"/>
            <a:ext cx="4258798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912558"/>
      </p:ext>
    </p:extLst>
  </p:cSld>
  <p:clrMapOvr>
    <a:masterClrMapping/>
  </p:clrMapOvr>
  <p:transition>
    <p:fade/>
  </p:transition>
  <p:hf sldNum="0"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Meta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 userDrawn="1"/>
        </p:nvSpPr>
        <p:spPr>
          <a:xfrm>
            <a:off x="3363912" y="4513263"/>
            <a:ext cx="524182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prstClr val="white">
                    <a:lumMod val="50000"/>
                  </a:prstClr>
                </a:solidFill>
              </a:rPr>
              <a:t>Identifier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363912" y="4680493"/>
            <a:ext cx="2641601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 baseline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dentifier 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3363912" y="4904290"/>
            <a:ext cx="468077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prstClr val="white">
                    <a:lumMod val="50000"/>
                  </a:prstClr>
                </a:solidFill>
              </a:rPr>
              <a:t>Version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3363912" y="5285792"/>
            <a:ext cx="503343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prstClr val="white">
                    <a:lumMod val="50000"/>
                  </a:prstClr>
                </a:solidFill>
              </a:rPr>
              <a:t>Status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3363912" y="5453022"/>
            <a:ext cx="2641601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Status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3363912" y="5676819"/>
            <a:ext cx="503343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prstClr val="white">
                    <a:lumMod val="50000"/>
                  </a:prstClr>
                </a:solidFill>
              </a:rPr>
              <a:t>Relation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3363912" y="5844047"/>
            <a:ext cx="2641601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lation</a:t>
            </a:r>
          </a:p>
        </p:txBody>
      </p:sp>
      <p:sp>
        <p:nvSpPr>
          <p:cNvPr id="24" name="TextBox 23"/>
          <p:cNvSpPr txBox="1"/>
          <p:nvPr userDrawn="1"/>
        </p:nvSpPr>
        <p:spPr>
          <a:xfrm>
            <a:off x="538163" y="4517983"/>
            <a:ext cx="892873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prstClr val="white">
                    <a:lumMod val="50000"/>
                  </a:prstClr>
                </a:solidFill>
              </a:rPr>
              <a:t>Document type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538164" y="4685213"/>
            <a:ext cx="2646362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Document type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538163" y="4909010"/>
            <a:ext cx="490519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prstClr val="white">
                    <a:lumMod val="50000"/>
                  </a:prstClr>
                </a:solidFill>
              </a:rPr>
              <a:t>Creator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538163" y="5290512"/>
            <a:ext cx="750205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prstClr val="white">
                    <a:lumMod val="50000"/>
                  </a:prstClr>
                </a:solidFill>
              </a:rPr>
              <a:t>Approved by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538164" y="5457742"/>
            <a:ext cx="2646362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Name and telephon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363912" y="5071519"/>
            <a:ext cx="2641601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Version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538164" y="5076239"/>
            <a:ext cx="2646362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 baseline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Name and telephon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1793875"/>
            <a:ext cx="5467350" cy="2719388"/>
          </a:xfrm>
        </p:spPr>
        <p:txBody>
          <a:bodyPr tIns="36000" rIns="180000" anchor="t">
            <a:noAutofit/>
          </a:bodyPr>
          <a:lstStyle>
            <a:lvl1pPr algn="l">
              <a:lnSpc>
                <a:spcPct val="85000"/>
              </a:lnSpc>
              <a:defRPr sz="600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5" name="Date Placeholder 2"/>
          <p:cNvSpPr>
            <a:spLocks noGrp="1"/>
          </p:cNvSpPr>
          <p:nvPr>
            <p:ph type="dt" sz="half" idx="14"/>
          </p:nvPr>
        </p:nvSpPr>
        <p:spPr>
          <a:xfrm>
            <a:off x="538163" y="6421919"/>
            <a:ext cx="828000" cy="153888"/>
          </a:xfrm>
        </p:spPr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sv-SE" dirty="0">
              <a:solidFill>
                <a:prstClr val="black"/>
              </a:solidFill>
            </a:endParaRPr>
          </a:p>
        </p:txBody>
      </p:sp>
      <p:sp>
        <p:nvSpPr>
          <p:cNvPr id="36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6184901" y="1"/>
            <a:ext cx="6007100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 dirty="0"/>
          </a:p>
        </p:txBody>
      </p:sp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725" y="165237"/>
            <a:ext cx="4258798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879211"/>
      </p:ext>
    </p:extLst>
  </p:cSld>
  <p:clrMapOvr>
    <a:masterClrMapping/>
  </p:clrMapOvr>
  <p:transition>
    <p:fade/>
  </p:transition>
  <p:hf sldNum="0" hd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1793875"/>
            <a:ext cx="8291512" cy="2719388"/>
          </a:xfrm>
        </p:spPr>
        <p:txBody>
          <a:bodyPr tIns="36000" rIns="180000" anchor="t">
            <a:noAutofit/>
          </a:bodyPr>
          <a:lstStyle>
            <a:lvl1pPr algn="l">
              <a:lnSpc>
                <a:spcPct val="85000"/>
              </a:lnSpc>
              <a:defRPr sz="600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163" y="4689476"/>
            <a:ext cx="5467350" cy="1271587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4"/>
          </p:nvPr>
        </p:nvSpPr>
        <p:spPr>
          <a:xfrm>
            <a:off x="538163" y="6421919"/>
            <a:ext cx="828000" cy="153888"/>
          </a:xfrm>
        </p:spPr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sv-S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721251"/>
      </p:ext>
    </p:extLst>
  </p:cSld>
  <p:clrMapOvr>
    <a:masterClrMapping/>
  </p:clrMapOvr>
  <p:transition>
    <p:fade/>
  </p:transition>
  <p:hf sldNum="0" hd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</a:t>
            </a:r>
            <a:r>
              <a:rPr lang="en-US" dirty="0" err="1"/>
              <a:t>TIT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38163" y="1793875"/>
            <a:ext cx="11114087" cy="41671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61827261"/>
      </p:ext>
    </p:extLst>
  </p:cSld>
  <p:clrMapOvr>
    <a:masterClrMapping/>
  </p:clrMapOvr>
  <p:transition>
    <p:fade/>
  </p:transition>
  <p:hf sldNum="0"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538162" y="538163"/>
            <a:ext cx="8291513" cy="3975100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162" y="4689476"/>
            <a:ext cx="8291513" cy="1271588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>
                <a:solidFill>
                  <a:prstClr val="white"/>
                </a:solidFill>
              </a:rPr>
              <a:t>yyyy-mm-dd</a:t>
            </a:r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smtClean="0">
                <a:solidFill>
                  <a:prstClr val="white"/>
                </a:solidFill>
              </a:rPr>
              <a:t>Confidential</a:t>
            </a:r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2D7E8A-A0E3-4239-9A38-4F8DCAE2A924}" type="slidenum">
              <a:rPr lang="sv-SE" smtClean="0">
                <a:solidFill>
                  <a:prstClr val="white"/>
                </a:solidFill>
              </a:rPr>
              <a:pPr/>
              <a:t>‹#›</a:t>
            </a:fld>
            <a:endParaRPr lang="sv-S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407686"/>
      </p:ext>
    </p:extLst>
  </p:cSld>
  <p:clrMapOvr>
    <a:masterClrMapping/>
  </p:clrMapOvr>
  <p:transition>
    <p:fade/>
  </p:transition>
  <p:hf sldNum="0" hd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ebbl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538164" y="538164"/>
            <a:ext cx="5467350" cy="2527299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5381601"/>
      </p:ext>
    </p:extLst>
  </p:cSld>
  <p:clrMapOvr>
    <a:masterClrMapping/>
  </p:clrMapOvr>
  <p:transition>
    <p:fade/>
  </p:transition>
  <p:hf sldNum="0"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ebbl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38164" y="538164"/>
            <a:ext cx="5467350" cy="2527299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2411513"/>
      </p:ext>
    </p:extLst>
  </p:cSld>
  <p:clrMapOvr>
    <a:masterClrMapping/>
  </p:clrMapOvr>
  <p:transition>
    <p:fade/>
  </p:transition>
  <p:hf sldNum="0" hd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ebble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38164" y="538164"/>
            <a:ext cx="5467350" cy="2527299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8821624"/>
      </p:ext>
    </p:extLst>
  </p:cSld>
  <p:clrMapOvr>
    <a:masterClrMapping/>
  </p:clrMapOvr>
  <p:transition>
    <p:fade/>
  </p:transition>
  <p:hf sldNum="0" hd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Rippl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 bwMode="invGray">
          <a:xfrm>
            <a:off x="-1057" y="1"/>
            <a:ext cx="12193057" cy="6858000"/>
            <a:chOff x="-1057" y="1"/>
            <a:chExt cx="12193057" cy="6858000"/>
          </a:xfrm>
        </p:grpSpPr>
        <p:sp>
          <p:nvSpPr>
            <p:cNvPr id="25" name="Freeform 24"/>
            <p:cNvSpPr>
              <a:spLocks/>
            </p:cNvSpPr>
            <p:nvPr userDrawn="1"/>
          </p:nvSpPr>
          <p:spPr bwMode="invGray">
            <a:xfrm>
              <a:off x="-1057" y="1"/>
              <a:ext cx="8691601" cy="3871890"/>
            </a:xfrm>
            <a:custGeom>
              <a:avLst/>
              <a:gdLst>
                <a:gd name="connsiteX0" fmla="*/ 4206316 w 8691601"/>
                <a:gd name="connsiteY0" fmla="*/ 0 h 3871890"/>
                <a:gd name="connsiteX1" fmla="*/ 5697461 w 8691601"/>
                <a:gd name="connsiteY1" fmla="*/ 0 h 3871890"/>
                <a:gd name="connsiteX2" fmla="*/ 5876669 w 8691601"/>
                <a:gd name="connsiteY2" fmla="*/ 0 h 3871890"/>
                <a:gd name="connsiteX3" fmla="*/ 5814491 w 8691601"/>
                <a:gd name="connsiteY3" fmla="*/ 33052 h 3871890"/>
                <a:gd name="connsiteX4" fmla="*/ 5876679 w 8691601"/>
                <a:gd name="connsiteY4" fmla="*/ 0 h 3871890"/>
                <a:gd name="connsiteX5" fmla="*/ 8527609 w 8691601"/>
                <a:gd name="connsiteY5" fmla="*/ 0 h 3871890"/>
                <a:gd name="connsiteX6" fmla="*/ 8691601 w 8691601"/>
                <a:gd name="connsiteY6" fmla="*/ 0 h 3871890"/>
                <a:gd name="connsiteX7" fmla="*/ 5144630 w 8691601"/>
                <a:gd name="connsiteY7" fmla="*/ 2017103 h 3871890"/>
                <a:gd name="connsiteX8" fmla="*/ 0 w 8691601"/>
                <a:gd name="connsiteY8" fmla="*/ 3871890 h 3871890"/>
                <a:gd name="connsiteX9" fmla="*/ 0 w 8691601"/>
                <a:gd name="connsiteY9" fmla="*/ 3778897 h 3871890"/>
                <a:gd name="connsiteX10" fmla="*/ 0 w 8691601"/>
                <a:gd name="connsiteY10" fmla="*/ 2506118 h 3871890"/>
                <a:gd name="connsiteX11" fmla="*/ 0 w 8691601"/>
                <a:gd name="connsiteY11" fmla="*/ 2379288 h 3871890"/>
                <a:gd name="connsiteX12" fmla="*/ 0 w 8691601"/>
                <a:gd name="connsiteY12" fmla="*/ 2378930 h 3871890"/>
                <a:gd name="connsiteX13" fmla="*/ 0 w 8691601"/>
                <a:gd name="connsiteY13" fmla="*/ 2377888 h 3871890"/>
                <a:gd name="connsiteX14" fmla="*/ 0 w 8691601"/>
                <a:gd name="connsiteY14" fmla="*/ 2289663 h 3871890"/>
                <a:gd name="connsiteX15" fmla="*/ 0 w 8691601"/>
                <a:gd name="connsiteY15" fmla="*/ 1582810 h 3871890"/>
                <a:gd name="connsiteX16" fmla="*/ 3846209 w 8691601"/>
                <a:gd name="connsiteY16" fmla="*/ 174177 h 3871890"/>
                <a:gd name="connsiteX17" fmla="*/ 4206316 w 8691601"/>
                <a:gd name="connsiteY17" fmla="*/ 0 h 3871890"/>
                <a:gd name="connsiteX18" fmla="*/ 0 w 8691601"/>
                <a:gd name="connsiteY18" fmla="*/ 0 h 3871890"/>
                <a:gd name="connsiteX19" fmla="*/ 4008300 w 8691601"/>
                <a:gd name="connsiteY19" fmla="*/ 0 h 3871890"/>
                <a:gd name="connsiteX20" fmla="*/ 4206095 w 8691601"/>
                <a:gd name="connsiteY20" fmla="*/ 0 h 3871890"/>
                <a:gd name="connsiteX21" fmla="*/ 3846008 w 8691601"/>
                <a:gd name="connsiteY21" fmla="*/ 174167 h 3871890"/>
                <a:gd name="connsiteX22" fmla="*/ 0 w 8691601"/>
                <a:gd name="connsiteY22" fmla="*/ 1582720 h 3871890"/>
                <a:gd name="connsiteX23" fmla="*/ 0 w 8691601"/>
                <a:gd name="connsiteY23" fmla="*/ 1494791 h 3871890"/>
                <a:gd name="connsiteX24" fmla="*/ 0 w 8691601"/>
                <a:gd name="connsiteY24" fmla="*/ 0 h 38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691601" h="3871890">
                  <a:moveTo>
                    <a:pt x="4206316" y="0"/>
                  </a:moveTo>
                  <a:cubicBezTo>
                    <a:pt x="4206316" y="0"/>
                    <a:pt x="4206316" y="0"/>
                    <a:pt x="5697461" y="0"/>
                  </a:cubicBezTo>
                  <a:lnTo>
                    <a:pt x="5876669" y="0"/>
                  </a:lnTo>
                  <a:lnTo>
                    <a:pt x="5814491" y="33052"/>
                  </a:lnTo>
                  <a:lnTo>
                    <a:pt x="5876679" y="0"/>
                  </a:lnTo>
                  <a:cubicBezTo>
                    <a:pt x="5876679" y="0"/>
                    <a:pt x="5876679" y="0"/>
                    <a:pt x="8527609" y="0"/>
                  </a:cubicBezTo>
                  <a:lnTo>
                    <a:pt x="8691601" y="0"/>
                  </a:lnTo>
                  <a:cubicBezTo>
                    <a:pt x="7673834" y="705056"/>
                    <a:pt x="6463332" y="1399967"/>
                    <a:pt x="5144630" y="2017103"/>
                  </a:cubicBezTo>
                  <a:cubicBezTo>
                    <a:pt x="3220677" y="2919980"/>
                    <a:pt x="1460717" y="3550642"/>
                    <a:pt x="0" y="3871890"/>
                  </a:cubicBezTo>
                  <a:cubicBezTo>
                    <a:pt x="0" y="3871890"/>
                    <a:pt x="0" y="3871890"/>
                    <a:pt x="0" y="3778897"/>
                  </a:cubicBezTo>
                  <a:cubicBezTo>
                    <a:pt x="0" y="3778897"/>
                    <a:pt x="0" y="3778897"/>
                    <a:pt x="0" y="2506118"/>
                  </a:cubicBezTo>
                  <a:lnTo>
                    <a:pt x="0" y="2379288"/>
                  </a:lnTo>
                  <a:lnTo>
                    <a:pt x="0" y="2378930"/>
                  </a:lnTo>
                  <a:lnTo>
                    <a:pt x="0" y="2377888"/>
                  </a:lnTo>
                  <a:cubicBezTo>
                    <a:pt x="0" y="2373687"/>
                    <a:pt x="0" y="2356882"/>
                    <a:pt x="0" y="2289663"/>
                  </a:cubicBezTo>
                  <a:cubicBezTo>
                    <a:pt x="0" y="2289663"/>
                    <a:pt x="0" y="2289663"/>
                    <a:pt x="0" y="1582810"/>
                  </a:cubicBezTo>
                  <a:cubicBezTo>
                    <a:pt x="1107370" y="1325772"/>
                    <a:pt x="2434524" y="842136"/>
                    <a:pt x="3846209" y="174177"/>
                  </a:cubicBezTo>
                  <a:cubicBezTo>
                    <a:pt x="3967935" y="116682"/>
                    <a:pt x="4087971" y="59186"/>
                    <a:pt x="4206316" y="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4008300" y="0"/>
                  </a:cubicBezTo>
                  <a:lnTo>
                    <a:pt x="4206095" y="0"/>
                  </a:lnTo>
                  <a:cubicBezTo>
                    <a:pt x="4087756" y="59183"/>
                    <a:pt x="3967727" y="116675"/>
                    <a:pt x="3846008" y="174167"/>
                  </a:cubicBezTo>
                  <a:cubicBezTo>
                    <a:pt x="2434396" y="842088"/>
                    <a:pt x="1107312" y="1325697"/>
                    <a:pt x="0" y="1582720"/>
                  </a:cubicBezTo>
                  <a:cubicBezTo>
                    <a:pt x="0" y="1582720"/>
                    <a:pt x="0" y="1582720"/>
                    <a:pt x="0" y="1494791"/>
                  </a:cubicBezTo>
                  <a:cubicBezTo>
                    <a:pt x="0" y="1494791"/>
                    <a:pt x="0" y="1494791"/>
                    <a:pt x="0" y="0"/>
                  </a:cubicBezTo>
                  <a:close/>
                </a:path>
              </a:pathLst>
            </a:custGeom>
            <a:solidFill>
              <a:srgbClr val="FF32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grpSp>
          <p:nvGrpSpPr>
            <p:cNvPr id="26" name="Group 25"/>
            <p:cNvGrpSpPr/>
            <p:nvPr userDrawn="1"/>
          </p:nvGrpSpPr>
          <p:grpSpPr bwMode="invGray">
            <a:xfrm>
              <a:off x="-1057" y="1"/>
              <a:ext cx="12193057" cy="6858000"/>
              <a:chOff x="19354800" y="-13931900"/>
              <a:chExt cx="42743438" cy="24041101"/>
            </a:xfrm>
          </p:grpSpPr>
          <p:sp>
            <p:nvSpPr>
              <p:cNvPr id="27" name="Freeform 31"/>
              <p:cNvSpPr>
                <a:spLocks/>
              </p:cNvSpPr>
              <p:nvPr userDrawn="1"/>
            </p:nvSpPr>
            <p:spPr bwMode="invGray">
              <a:xfrm>
                <a:off x="53789263" y="3417888"/>
                <a:ext cx="8308975" cy="6691313"/>
              </a:xfrm>
              <a:custGeom>
                <a:avLst/>
                <a:gdLst>
                  <a:gd name="T0" fmla="*/ 0 w 1402"/>
                  <a:gd name="T1" fmla="*/ 1129 h 1129"/>
                  <a:gd name="T2" fmla="*/ 1402 w 1402"/>
                  <a:gd name="T3" fmla="*/ 1129 h 1129"/>
                  <a:gd name="T4" fmla="*/ 1402 w 1402"/>
                  <a:gd name="T5" fmla="*/ 0 h 1129"/>
                  <a:gd name="T6" fmla="*/ 0 w 1402"/>
                  <a:gd name="T7" fmla="*/ 1129 h 1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02" h="1129">
                    <a:moveTo>
                      <a:pt x="0" y="1129"/>
                    </a:moveTo>
                    <a:cubicBezTo>
                      <a:pt x="1402" y="1129"/>
                      <a:pt x="1402" y="1129"/>
                      <a:pt x="1402" y="1129"/>
                    </a:cubicBezTo>
                    <a:cubicBezTo>
                      <a:pt x="1402" y="0"/>
                      <a:pt x="1402" y="0"/>
                      <a:pt x="1402" y="0"/>
                    </a:cubicBezTo>
                    <a:cubicBezTo>
                      <a:pt x="1011" y="387"/>
                      <a:pt x="540" y="767"/>
                      <a:pt x="0" y="1129"/>
                    </a:cubicBezTo>
                    <a:close/>
                  </a:path>
                </a:pathLst>
              </a:custGeom>
              <a:solidFill>
                <a:srgbClr val="CEFF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8" name="Freeform 32"/>
              <p:cNvSpPr>
                <a:spLocks/>
              </p:cNvSpPr>
              <p:nvPr userDrawn="1"/>
            </p:nvSpPr>
            <p:spPr bwMode="invGray">
              <a:xfrm>
                <a:off x="37982525" y="-5076825"/>
                <a:ext cx="24115713" cy="15186025"/>
              </a:xfrm>
              <a:custGeom>
                <a:avLst/>
                <a:gdLst>
                  <a:gd name="T0" fmla="*/ 1741 w 4069"/>
                  <a:gd name="T1" fmla="*/ 1684 h 2562"/>
                  <a:gd name="T2" fmla="*/ 0 w 4069"/>
                  <a:gd name="T3" fmla="*/ 2562 h 2562"/>
                  <a:gd name="T4" fmla="*/ 2573 w 4069"/>
                  <a:gd name="T5" fmla="*/ 2562 h 2562"/>
                  <a:gd name="T6" fmla="*/ 2667 w 4069"/>
                  <a:gd name="T7" fmla="*/ 2562 h 2562"/>
                  <a:gd name="T8" fmla="*/ 4069 w 4069"/>
                  <a:gd name="T9" fmla="*/ 1433 h 2562"/>
                  <a:gd name="T10" fmla="*/ 4069 w 4069"/>
                  <a:gd name="T11" fmla="*/ 1362 h 2562"/>
                  <a:gd name="T12" fmla="*/ 4069 w 4069"/>
                  <a:gd name="T13" fmla="*/ 0 h 2562"/>
                  <a:gd name="T14" fmla="*/ 1741 w 4069"/>
                  <a:gd name="T15" fmla="*/ 1684 h 25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069" h="2562">
                    <a:moveTo>
                      <a:pt x="1741" y="1684"/>
                    </a:moveTo>
                    <a:cubicBezTo>
                      <a:pt x="1151" y="2023"/>
                      <a:pt x="566" y="2317"/>
                      <a:pt x="0" y="2562"/>
                    </a:cubicBezTo>
                    <a:cubicBezTo>
                      <a:pt x="2573" y="2562"/>
                      <a:pt x="2573" y="2562"/>
                      <a:pt x="2573" y="2562"/>
                    </a:cubicBezTo>
                    <a:cubicBezTo>
                      <a:pt x="2667" y="2562"/>
                      <a:pt x="2667" y="2562"/>
                      <a:pt x="2667" y="2562"/>
                    </a:cubicBezTo>
                    <a:cubicBezTo>
                      <a:pt x="3207" y="2200"/>
                      <a:pt x="3678" y="1820"/>
                      <a:pt x="4069" y="1433"/>
                    </a:cubicBezTo>
                    <a:cubicBezTo>
                      <a:pt x="4069" y="1362"/>
                      <a:pt x="4069" y="1362"/>
                      <a:pt x="4069" y="1362"/>
                    </a:cubicBezTo>
                    <a:cubicBezTo>
                      <a:pt x="4069" y="0"/>
                      <a:pt x="4069" y="0"/>
                      <a:pt x="4069" y="0"/>
                    </a:cubicBezTo>
                    <a:cubicBezTo>
                      <a:pt x="3487" y="562"/>
                      <a:pt x="2705" y="1130"/>
                      <a:pt x="1741" y="1684"/>
                    </a:cubicBezTo>
                    <a:close/>
                  </a:path>
                </a:pathLst>
              </a:custGeom>
              <a:solidFill>
                <a:srgbClr val="990A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9" name="Freeform 33"/>
              <p:cNvSpPr>
                <a:spLocks/>
              </p:cNvSpPr>
              <p:nvPr userDrawn="1"/>
            </p:nvSpPr>
            <p:spPr bwMode="invGray">
              <a:xfrm>
                <a:off x="31610300" y="-7500938"/>
                <a:ext cx="30487938" cy="17610138"/>
              </a:xfrm>
              <a:custGeom>
                <a:avLst/>
                <a:gdLst>
                  <a:gd name="T0" fmla="*/ 2574 w 5144"/>
                  <a:gd name="T1" fmla="*/ 1825 h 2971"/>
                  <a:gd name="T2" fmla="*/ 0 w 5144"/>
                  <a:gd name="T3" fmla="*/ 2971 h 2971"/>
                  <a:gd name="T4" fmla="*/ 945 w 5144"/>
                  <a:gd name="T5" fmla="*/ 2971 h 2971"/>
                  <a:gd name="T6" fmla="*/ 1075 w 5144"/>
                  <a:gd name="T7" fmla="*/ 2971 h 2971"/>
                  <a:gd name="T8" fmla="*/ 2816 w 5144"/>
                  <a:gd name="T9" fmla="*/ 2093 h 2971"/>
                  <a:gd name="T10" fmla="*/ 5144 w 5144"/>
                  <a:gd name="T11" fmla="*/ 409 h 2971"/>
                  <a:gd name="T12" fmla="*/ 5144 w 5144"/>
                  <a:gd name="T13" fmla="*/ 340 h 2971"/>
                  <a:gd name="T14" fmla="*/ 5144 w 5144"/>
                  <a:gd name="T15" fmla="*/ 0 h 2971"/>
                  <a:gd name="T16" fmla="*/ 2574 w 5144"/>
                  <a:gd name="T17" fmla="*/ 1825 h 2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44" h="2971">
                    <a:moveTo>
                      <a:pt x="2574" y="1825"/>
                    </a:moveTo>
                    <a:cubicBezTo>
                      <a:pt x="1667" y="2308"/>
                      <a:pt x="799" y="2694"/>
                      <a:pt x="0" y="2971"/>
                    </a:cubicBezTo>
                    <a:cubicBezTo>
                      <a:pt x="945" y="2971"/>
                      <a:pt x="945" y="2971"/>
                      <a:pt x="945" y="2971"/>
                    </a:cubicBezTo>
                    <a:cubicBezTo>
                      <a:pt x="1075" y="2971"/>
                      <a:pt x="1075" y="2971"/>
                      <a:pt x="1075" y="2971"/>
                    </a:cubicBezTo>
                    <a:cubicBezTo>
                      <a:pt x="1641" y="2726"/>
                      <a:pt x="2226" y="2432"/>
                      <a:pt x="2816" y="2093"/>
                    </a:cubicBezTo>
                    <a:cubicBezTo>
                      <a:pt x="3780" y="1539"/>
                      <a:pt x="4562" y="971"/>
                      <a:pt x="5144" y="409"/>
                    </a:cubicBezTo>
                    <a:cubicBezTo>
                      <a:pt x="5144" y="340"/>
                      <a:pt x="5144" y="340"/>
                      <a:pt x="5144" y="340"/>
                    </a:cubicBezTo>
                    <a:cubicBezTo>
                      <a:pt x="5144" y="0"/>
                      <a:pt x="5144" y="0"/>
                      <a:pt x="5144" y="0"/>
                    </a:cubicBezTo>
                    <a:cubicBezTo>
                      <a:pt x="4517" y="627"/>
                      <a:pt x="3642" y="1256"/>
                      <a:pt x="2574" y="1825"/>
                    </a:cubicBezTo>
                    <a:close/>
                  </a:path>
                </a:pathLst>
              </a:custGeom>
              <a:solidFill>
                <a:srgbClr val="993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5" name="Freeform 34"/>
              <p:cNvSpPr>
                <a:spLocks/>
              </p:cNvSpPr>
              <p:nvPr userDrawn="1"/>
            </p:nvSpPr>
            <p:spPr bwMode="invGray">
              <a:xfrm>
                <a:off x="19354800" y="-13931900"/>
                <a:ext cx="42743438" cy="24041101"/>
              </a:xfrm>
              <a:custGeom>
                <a:avLst/>
                <a:gdLst>
                  <a:gd name="T0" fmla="*/ 5141 w 7212"/>
                  <a:gd name="T1" fmla="*/ 0 h 4056"/>
                  <a:gd name="T2" fmla="*/ 3043 w 7212"/>
                  <a:gd name="T3" fmla="*/ 1193 h 4056"/>
                  <a:gd name="T4" fmla="*/ 0 w 7212"/>
                  <a:gd name="T5" fmla="*/ 2290 h 4056"/>
                  <a:gd name="T6" fmla="*/ 0 w 7212"/>
                  <a:gd name="T7" fmla="*/ 4056 h 4056"/>
                  <a:gd name="T8" fmla="*/ 1910 w 7212"/>
                  <a:gd name="T9" fmla="*/ 4056 h 4056"/>
                  <a:gd name="T10" fmla="*/ 2068 w 7212"/>
                  <a:gd name="T11" fmla="*/ 4056 h 4056"/>
                  <a:gd name="T12" fmla="*/ 4642 w 7212"/>
                  <a:gd name="T13" fmla="*/ 2910 h 4056"/>
                  <a:gd name="T14" fmla="*/ 7212 w 7212"/>
                  <a:gd name="T15" fmla="*/ 1085 h 4056"/>
                  <a:gd name="T16" fmla="*/ 7212 w 7212"/>
                  <a:gd name="T17" fmla="*/ 1015 h 4056"/>
                  <a:gd name="T18" fmla="*/ 7212 w 7212"/>
                  <a:gd name="T19" fmla="*/ 0 h 4056"/>
                  <a:gd name="T20" fmla="*/ 5141 w 7212"/>
                  <a:gd name="T21" fmla="*/ 0 h 4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12" h="4056">
                    <a:moveTo>
                      <a:pt x="5141" y="0"/>
                    </a:moveTo>
                    <a:cubicBezTo>
                      <a:pt x="4539" y="417"/>
                      <a:pt x="3823" y="828"/>
                      <a:pt x="3043" y="1193"/>
                    </a:cubicBezTo>
                    <a:cubicBezTo>
                      <a:pt x="1905" y="1727"/>
                      <a:pt x="864" y="2100"/>
                      <a:pt x="0" y="2290"/>
                    </a:cubicBezTo>
                    <a:cubicBezTo>
                      <a:pt x="0" y="4056"/>
                      <a:pt x="0" y="4056"/>
                      <a:pt x="0" y="4056"/>
                    </a:cubicBezTo>
                    <a:cubicBezTo>
                      <a:pt x="1910" y="4056"/>
                      <a:pt x="1910" y="4056"/>
                      <a:pt x="1910" y="4056"/>
                    </a:cubicBezTo>
                    <a:cubicBezTo>
                      <a:pt x="2068" y="4056"/>
                      <a:pt x="2068" y="4056"/>
                      <a:pt x="2068" y="4056"/>
                    </a:cubicBezTo>
                    <a:cubicBezTo>
                      <a:pt x="2867" y="3779"/>
                      <a:pt x="3735" y="3393"/>
                      <a:pt x="4642" y="2910"/>
                    </a:cubicBezTo>
                    <a:cubicBezTo>
                      <a:pt x="5710" y="2341"/>
                      <a:pt x="6585" y="1712"/>
                      <a:pt x="7212" y="1085"/>
                    </a:cubicBezTo>
                    <a:cubicBezTo>
                      <a:pt x="7212" y="1015"/>
                      <a:pt x="7212" y="1015"/>
                      <a:pt x="7212" y="1015"/>
                    </a:cubicBezTo>
                    <a:cubicBezTo>
                      <a:pt x="7212" y="0"/>
                      <a:pt x="7212" y="0"/>
                      <a:pt x="7212" y="0"/>
                    </a:cubicBezTo>
                    <a:lnTo>
                      <a:pt x="5141" y="0"/>
                    </a:lnTo>
                    <a:close/>
                  </a:path>
                </a:pathLst>
              </a:custGeom>
              <a:solidFill>
                <a:srgbClr val="990A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8" name="Freeform 36"/>
              <p:cNvSpPr>
                <a:spLocks/>
              </p:cNvSpPr>
              <p:nvPr userDrawn="1"/>
            </p:nvSpPr>
            <p:spPr bwMode="invGray">
              <a:xfrm>
                <a:off x="19354800" y="-13931900"/>
                <a:ext cx="20600988" cy="8340725"/>
              </a:xfrm>
              <a:custGeom>
                <a:avLst/>
                <a:gdLst>
                  <a:gd name="T0" fmla="*/ 3370 w 3476"/>
                  <a:gd name="T1" fmla="*/ 0 h 1407"/>
                  <a:gd name="T2" fmla="*/ 2488 w 3476"/>
                  <a:gd name="T3" fmla="*/ 0 h 1407"/>
                  <a:gd name="T4" fmla="*/ 2275 w 3476"/>
                  <a:gd name="T5" fmla="*/ 103 h 1407"/>
                  <a:gd name="T6" fmla="*/ 0 w 3476"/>
                  <a:gd name="T7" fmla="*/ 936 h 1407"/>
                  <a:gd name="T8" fmla="*/ 0 w 3476"/>
                  <a:gd name="T9" fmla="*/ 1354 h 1407"/>
                  <a:gd name="T10" fmla="*/ 0 w 3476"/>
                  <a:gd name="T11" fmla="*/ 1407 h 1407"/>
                  <a:gd name="T12" fmla="*/ 2593 w 3476"/>
                  <a:gd name="T13" fmla="*/ 451 h 1407"/>
                  <a:gd name="T14" fmla="*/ 3476 w 3476"/>
                  <a:gd name="T15" fmla="*/ 0 h 1407"/>
                  <a:gd name="T16" fmla="*/ 3370 w 3476"/>
                  <a:gd name="T17" fmla="*/ 0 h 14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76" h="1407">
                    <a:moveTo>
                      <a:pt x="3370" y="0"/>
                    </a:moveTo>
                    <a:cubicBezTo>
                      <a:pt x="2488" y="0"/>
                      <a:pt x="2488" y="0"/>
                      <a:pt x="2488" y="0"/>
                    </a:cubicBezTo>
                    <a:cubicBezTo>
                      <a:pt x="2418" y="35"/>
                      <a:pt x="2347" y="69"/>
                      <a:pt x="2275" y="103"/>
                    </a:cubicBezTo>
                    <a:cubicBezTo>
                      <a:pt x="1440" y="498"/>
                      <a:pt x="655" y="784"/>
                      <a:pt x="0" y="936"/>
                    </a:cubicBezTo>
                    <a:cubicBezTo>
                      <a:pt x="0" y="1354"/>
                      <a:pt x="0" y="1354"/>
                      <a:pt x="0" y="1354"/>
                    </a:cubicBezTo>
                    <a:cubicBezTo>
                      <a:pt x="0" y="1407"/>
                      <a:pt x="0" y="1407"/>
                      <a:pt x="0" y="1407"/>
                    </a:cubicBezTo>
                    <a:cubicBezTo>
                      <a:pt x="732" y="1235"/>
                      <a:pt x="1618" y="910"/>
                      <a:pt x="2593" y="451"/>
                    </a:cubicBezTo>
                    <a:cubicBezTo>
                      <a:pt x="2900" y="306"/>
                      <a:pt x="3196" y="155"/>
                      <a:pt x="3476" y="0"/>
                    </a:cubicBezTo>
                    <a:lnTo>
                      <a:pt x="3370" y="0"/>
                    </a:lnTo>
                    <a:close/>
                  </a:path>
                </a:pathLst>
              </a:custGeom>
              <a:solidFill>
                <a:srgbClr val="E123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9" name="Freeform 37"/>
              <p:cNvSpPr>
                <a:spLocks/>
              </p:cNvSpPr>
              <p:nvPr userDrawn="1"/>
            </p:nvSpPr>
            <p:spPr bwMode="invGray">
              <a:xfrm>
                <a:off x="19354800" y="-13931900"/>
                <a:ext cx="14744700" cy="5548313"/>
              </a:xfrm>
              <a:custGeom>
                <a:avLst/>
                <a:gdLst>
                  <a:gd name="T0" fmla="*/ 2371 w 2488"/>
                  <a:gd name="T1" fmla="*/ 0 h 936"/>
                  <a:gd name="T2" fmla="*/ 0 w 2488"/>
                  <a:gd name="T3" fmla="*/ 0 h 936"/>
                  <a:gd name="T4" fmla="*/ 0 w 2488"/>
                  <a:gd name="T5" fmla="*/ 884 h 936"/>
                  <a:gd name="T6" fmla="*/ 0 w 2488"/>
                  <a:gd name="T7" fmla="*/ 936 h 936"/>
                  <a:gd name="T8" fmla="*/ 2275 w 2488"/>
                  <a:gd name="T9" fmla="*/ 103 h 936"/>
                  <a:gd name="T10" fmla="*/ 2488 w 2488"/>
                  <a:gd name="T11" fmla="*/ 0 h 936"/>
                  <a:gd name="T12" fmla="*/ 2371 w 2488"/>
                  <a:gd name="T13" fmla="*/ 0 h 9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88" h="936">
                    <a:moveTo>
                      <a:pt x="237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84"/>
                      <a:pt x="0" y="884"/>
                      <a:pt x="0" y="884"/>
                    </a:cubicBezTo>
                    <a:cubicBezTo>
                      <a:pt x="0" y="936"/>
                      <a:pt x="0" y="936"/>
                      <a:pt x="0" y="936"/>
                    </a:cubicBezTo>
                    <a:cubicBezTo>
                      <a:pt x="655" y="784"/>
                      <a:pt x="1440" y="498"/>
                      <a:pt x="2275" y="103"/>
                    </a:cubicBezTo>
                    <a:cubicBezTo>
                      <a:pt x="2347" y="69"/>
                      <a:pt x="2418" y="35"/>
                      <a:pt x="2488" y="0"/>
                    </a:cubicBezTo>
                    <a:lnTo>
                      <a:pt x="2371" y="0"/>
                    </a:lnTo>
                    <a:close/>
                  </a:path>
                </a:pathLst>
              </a:custGeom>
              <a:solidFill>
                <a:srgbClr val="FF32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538164"/>
            <a:ext cx="8291511" cy="3975099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 dirty="0" err="1"/>
              <a:t>TO</a:t>
            </a:r>
            <a:r>
              <a:rPr lang="en-US" dirty="0"/>
              <a:t>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1537581"/>
      </p:ext>
    </p:extLst>
  </p:cSld>
  <p:clrMapOvr>
    <a:masterClrMapping/>
  </p:clrMapOvr>
  <p:transition>
    <p:fade/>
  </p:transition>
  <p:hf sldNum="0"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66FA71-B8F9-4EC7-8F7D-436D78F2E717}" type="datetime1">
              <a:rPr lang="en-GB" smtClean="0"/>
              <a:t>10/12/2017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FOOTER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58775" y="1616074"/>
            <a:ext cx="5737225" cy="45720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6096000" y="1616074"/>
            <a:ext cx="5737225" cy="45720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6875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Rippl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 userDrawn="1"/>
        </p:nvGrpSpPr>
        <p:grpSpPr bwMode="invGray">
          <a:xfrm>
            <a:off x="-1" y="0"/>
            <a:ext cx="12193477" cy="6858000"/>
            <a:chOff x="-21582063" y="-12138025"/>
            <a:chExt cx="55356126" cy="31134050"/>
          </a:xfrm>
        </p:grpSpPr>
        <p:sp>
          <p:nvSpPr>
            <p:cNvPr id="16" name="Freeform 70"/>
            <p:cNvSpPr>
              <a:spLocks/>
            </p:cNvSpPr>
            <p:nvPr userDrawn="1"/>
          </p:nvSpPr>
          <p:spPr bwMode="invGray">
            <a:xfrm>
              <a:off x="25909588" y="12830175"/>
              <a:ext cx="7864475" cy="6165850"/>
            </a:xfrm>
            <a:custGeom>
              <a:avLst/>
              <a:gdLst>
                <a:gd name="T0" fmla="*/ 597 w 597"/>
                <a:gd name="T1" fmla="*/ 468 h 468"/>
                <a:gd name="T2" fmla="*/ 597 w 597"/>
                <a:gd name="T3" fmla="*/ 0 h 468"/>
                <a:gd name="T4" fmla="*/ 0 w 597"/>
                <a:gd name="T5" fmla="*/ 468 h 468"/>
                <a:gd name="T6" fmla="*/ 597 w 597"/>
                <a:gd name="T7" fmla="*/ 468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7" h="468">
                  <a:moveTo>
                    <a:pt x="597" y="468"/>
                  </a:moveTo>
                  <a:cubicBezTo>
                    <a:pt x="597" y="0"/>
                    <a:pt x="597" y="0"/>
                    <a:pt x="597" y="0"/>
                  </a:cubicBezTo>
                  <a:cubicBezTo>
                    <a:pt x="444" y="147"/>
                    <a:pt x="254" y="295"/>
                    <a:pt x="0" y="468"/>
                  </a:cubicBezTo>
                  <a:lnTo>
                    <a:pt x="597" y="468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71"/>
            <p:cNvSpPr>
              <a:spLocks/>
            </p:cNvSpPr>
            <p:nvPr userDrawn="1"/>
          </p:nvSpPr>
          <p:spPr bwMode="invGray">
            <a:xfrm>
              <a:off x="1657350" y="-1136650"/>
              <a:ext cx="32116713" cy="20132675"/>
            </a:xfrm>
            <a:custGeom>
              <a:avLst/>
              <a:gdLst>
                <a:gd name="T0" fmla="*/ 0 w 2438"/>
                <a:gd name="T1" fmla="*/ 1528 h 1528"/>
                <a:gd name="T2" fmla="*/ 1841 w 2438"/>
                <a:gd name="T3" fmla="*/ 1528 h 1528"/>
                <a:gd name="T4" fmla="*/ 2438 w 2438"/>
                <a:gd name="T5" fmla="*/ 1060 h 1528"/>
                <a:gd name="T6" fmla="*/ 2438 w 2438"/>
                <a:gd name="T7" fmla="*/ 0 h 1528"/>
                <a:gd name="T8" fmla="*/ 1070 w 2438"/>
                <a:gd name="T9" fmla="*/ 993 h 1528"/>
                <a:gd name="T10" fmla="*/ 0 w 2438"/>
                <a:gd name="T11" fmla="*/ 1528 h 1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38" h="1528">
                  <a:moveTo>
                    <a:pt x="0" y="1528"/>
                  </a:moveTo>
                  <a:cubicBezTo>
                    <a:pt x="1841" y="1528"/>
                    <a:pt x="1841" y="1528"/>
                    <a:pt x="1841" y="1528"/>
                  </a:cubicBezTo>
                  <a:cubicBezTo>
                    <a:pt x="2095" y="1355"/>
                    <a:pt x="2285" y="1207"/>
                    <a:pt x="2438" y="1060"/>
                  </a:cubicBezTo>
                  <a:cubicBezTo>
                    <a:pt x="2438" y="0"/>
                    <a:pt x="2438" y="0"/>
                    <a:pt x="2438" y="0"/>
                  </a:cubicBezTo>
                  <a:cubicBezTo>
                    <a:pt x="2098" y="332"/>
                    <a:pt x="1638" y="666"/>
                    <a:pt x="1070" y="993"/>
                  </a:cubicBezTo>
                  <a:cubicBezTo>
                    <a:pt x="707" y="1201"/>
                    <a:pt x="348" y="1381"/>
                    <a:pt x="0" y="1528"/>
                  </a:cubicBezTo>
                  <a:close/>
                </a:path>
              </a:pathLst>
            </a:custGeom>
            <a:solidFill>
              <a:srgbClr val="FF9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72"/>
            <p:cNvSpPr>
              <a:spLocks/>
            </p:cNvSpPr>
            <p:nvPr userDrawn="1"/>
          </p:nvSpPr>
          <p:spPr bwMode="invGray">
            <a:xfrm>
              <a:off x="-21582063" y="-11295063"/>
              <a:ext cx="55356126" cy="30291088"/>
            </a:xfrm>
            <a:custGeom>
              <a:avLst/>
              <a:gdLst>
                <a:gd name="T0" fmla="*/ 2428 w 4202"/>
                <a:gd name="T1" fmla="*/ 1295 h 2299"/>
                <a:gd name="T2" fmla="*/ 0 w 4202"/>
                <a:gd name="T3" fmla="*/ 2156 h 2299"/>
                <a:gd name="T4" fmla="*/ 0 w 4202"/>
                <a:gd name="T5" fmla="*/ 2299 h 2299"/>
                <a:gd name="T6" fmla="*/ 1764 w 4202"/>
                <a:gd name="T7" fmla="*/ 2299 h 2299"/>
                <a:gd name="T8" fmla="*/ 2834 w 4202"/>
                <a:gd name="T9" fmla="*/ 1764 h 2299"/>
                <a:gd name="T10" fmla="*/ 4202 w 4202"/>
                <a:gd name="T11" fmla="*/ 771 h 2299"/>
                <a:gd name="T12" fmla="*/ 4202 w 4202"/>
                <a:gd name="T13" fmla="*/ 0 h 2299"/>
                <a:gd name="T14" fmla="*/ 2428 w 4202"/>
                <a:gd name="T15" fmla="*/ 1295 h 2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02" h="2299">
                  <a:moveTo>
                    <a:pt x="2428" y="1295"/>
                  </a:moveTo>
                  <a:cubicBezTo>
                    <a:pt x="1539" y="1755"/>
                    <a:pt x="682" y="2057"/>
                    <a:pt x="0" y="2156"/>
                  </a:cubicBezTo>
                  <a:cubicBezTo>
                    <a:pt x="0" y="2299"/>
                    <a:pt x="0" y="2299"/>
                    <a:pt x="0" y="2299"/>
                  </a:cubicBezTo>
                  <a:cubicBezTo>
                    <a:pt x="1764" y="2299"/>
                    <a:pt x="1764" y="2299"/>
                    <a:pt x="1764" y="2299"/>
                  </a:cubicBezTo>
                  <a:cubicBezTo>
                    <a:pt x="2112" y="2152"/>
                    <a:pt x="2471" y="1972"/>
                    <a:pt x="2834" y="1764"/>
                  </a:cubicBezTo>
                  <a:cubicBezTo>
                    <a:pt x="3402" y="1437"/>
                    <a:pt x="3862" y="1103"/>
                    <a:pt x="4202" y="771"/>
                  </a:cubicBezTo>
                  <a:cubicBezTo>
                    <a:pt x="4202" y="0"/>
                    <a:pt x="4202" y="0"/>
                    <a:pt x="4202" y="0"/>
                  </a:cubicBezTo>
                  <a:cubicBezTo>
                    <a:pt x="3805" y="439"/>
                    <a:pt x="3183" y="904"/>
                    <a:pt x="2428" y="1295"/>
                  </a:cubicBezTo>
                  <a:close/>
                </a:path>
              </a:pathLst>
            </a:custGeom>
            <a:solidFill>
              <a:srgbClr val="FFCD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73"/>
            <p:cNvSpPr>
              <a:spLocks/>
            </p:cNvSpPr>
            <p:nvPr userDrawn="1"/>
          </p:nvSpPr>
          <p:spPr bwMode="invGray">
            <a:xfrm>
              <a:off x="-21582063" y="-12138025"/>
              <a:ext cx="55356126" cy="29249688"/>
            </a:xfrm>
            <a:custGeom>
              <a:avLst/>
              <a:gdLst>
                <a:gd name="T0" fmla="*/ 2512 w 4202"/>
                <a:gd name="T1" fmla="*/ 0 h 2220"/>
                <a:gd name="T2" fmla="*/ 1723 w 4202"/>
                <a:gd name="T3" fmla="*/ 431 h 2220"/>
                <a:gd name="T4" fmla="*/ 0 w 4202"/>
                <a:gd name="T5" fmla="*/ 1068 h 2220"/>
                <a:gd name="T6" fmla="*/ 0 w 4202"/>
                <a:gd name="T7" fmla="*/ 2220 h 2220"/>
                <a:gd name="T8" fmla="*/ 2428 w 4202"/>
                <a:gd name="T9" fmla="*/ 1359 h 2220"/>
                <a:gd name="T10" fmla="*/ 4202 w 4202"/>
                <a:gd name="T11" fmla="*/ 64 h 2220"/>
                <a:gd name="T12" fmla="*/ 4202 w 4202"/>
                <a:gd name="T13" fmla="*/ 0 h 2220"/>
                <a:gd name="T14" fmla="*/ 2512 w 4202"/>
                <a:gd name="T15" fmla="*/ 0 h 2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02" h="2220">
                  <a:moveTo>
                    <a:pt x="2512" y="0"/>
                  </a:moveTo>
                  <a:cubicBezTo>
                    <a:pt x="2270" y="150"/>
                    <a:pt x="2004" y="296"/>
                    <a:pt x="1723" y="431"/>
                  </a:cubicBezTo>
                  <a:cubicBezTo>
                    <a:pt x="1089" y="736"/>
                    <a:pt x="493" y="955"/>
                    <a:pt x="0" y="1068"/>
                  </a:cubicBezTo>
                  <a:cubicBezTo>
                    <a:pt x="0" y="2220"/>
                    <a:pt x="0" y="2220"/>
                    <a:pt x="0" y="2220"/>
                  </a:cubicBezTo>
                  <a:cubicBezTo>
                    <a:pt x="682" y="2121"/>
                    <a:pt x="1539" y="1819"/>
                    <a:pt x="2428" y="1359"/>
                  </a:cubicBezTo>
                  <a:cubicBezTo>
                    <a:pt x="3183" y="968"/>
                    <a:pt x="3805" y="503"/>
                    <a:pt x="4202" y="64"/>
                  </a:cubicBezTo>
                  <a:cubicBezTo>
                    <a:pt x="4202" y="0"/>
                    <a:pt x="4202" y="0"/>
                    <a:pt x="4202" y="0"/>
                  </a:cubicBezTo>
                  <a:lnTo>
                    <a:pt x="2512" y="0"/>
                  </a:lnTo>
                  <a:close/>
                </a:path>
              </a:pathLst>
            </a:custGeom>
            <a:solidFill>
              <a:srgbClr val="993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74"/>
            <p:cNvSpPr>
              <a:spLocks/>
            </p:cNvSpPr>
            <p:nvPr userDrawn="1"/>
          </p:nvSpPr>
          <p:spPr bwMode="invGray">
            <a:xfrm>
              <a:off x="-21582063" y="-12138025"/>
              <a:ext cx="33093026" cy="14071600"/>
            </a:xfrm>
            <a:custGeom>
              <a:avLst/>
              <a:gdLst>
                <a:gd name="T0" fmla="*/ 2512 w 2512"/>
                <a:gd name="T1" fmla="*/ 0 h 1068"/>
                <a:gd name="T2" fmla="*/ 0 w 2512"/>
                <a:gd name="T3" fmla="*/ 0 h 1068"/>
                <a:gd name="T4" fmla="*/ 0 w 2512"/>
                <a:gd name="T5" fmla="*/ 1068 h 1068"/>
                <a:gd name="T6" fmla="*/ 1723 w 2512"/>
                <a:gd name="T7" fmla="*/ 431 h 1068"/>
                <a:gd name="T8" fmla="*/ 2512 w 2512"/>
                <a:gd name="T9" fmla="*/ 0 h 1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12" h="1068">
                  <a:moveTo>
                    <a:pt x="25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68"/>
                    <a:pt x="0" y="1068"/>
                    <a:pt x="0" y="1068"/>
                  </a:cubicBezTo>
                  <a:cubicBezTo>
                    <a:pt x="493" y="955"/>
                    <a:pt x="1089" y="736"/>
                    <a:pt x="1723" y="431"/>
                  </a:cubicBezTo>
                  <a:cubicBezTo>
                    <a:pt x="2004" y="296"/>
                    <a:pt x="2270" y="150"/>
                    <a:pt x="2512" y="0"/>
                  </a:cubicBezTo>
                  <a:close/>
                </a:path>
              </a:pathLst>
            </a:custGeom>
            <a:solidFill>
              <a:srgbClr val="990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538164"/>
            <a:ext cx="8291511" cy="3975099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8467861"/>
      </p:ext>
    </p:extLst>
  </p:cSld>
  <p:clrMapOvr>
    <a:masterClrMapping/>
  </p:clrMapOvr>
  <p:transition>
    <p:fade/>
  </p:transition>
  <p:hf sldNum="0" hd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Rippl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 bwMode="invGray">
          <a:xfrm>
            <a:off x="331" y="0"/>
            <a:ext cx="12192000" cy="6858000"/>
            <a:chOff x="-23126700" y="-13012738"/>
            <a:chExt cx="58445401" cy="32883476"/>
          </a:xfrm>
        </p:grpSpPr>
        <p:sp>
          <p:nvSpPr>
            <p:cNvPr id="19" name="Freeform 31"/>
            <p:cNvSpPr>
              <a:spLocks/>
            </p:cNvSpPr>
            <p:nvPr userDrawn="1"/>
          </p:nvSpPr>
          <p:spPr bwMode="invGray">
            <a:xfrm>
              <a:off x="-23126700" y="-13012738"/>
              <a:ext cx="58445400" cy="32883476"/>
            </a:xfrm>
            <a:custGeom>
              <a:avLst/>
              <a:gdLst>
                <a:gd name="T0" fmla="*/ 2668 w 5548"/>
                <a:gd name="T1" fmla="*/ 654 h 3121"/>
                <a:gd name="T2" fmla="*/ 0 w 5548"/>
                <a:gd name="T3" fmla="*/ 1560 h 3121"/>
                <a:gd name="T4" fmla="*/ 0 w 5548"/>
                <a:gd name="T5" fmla="*/ 3121 h 3121"/>
                <a:gd name="T6" fmla="*/ 2075 w 5548"/>
                <a:gd name="T7" fmla="*/ 3121 h 3121"/>
                <a:gd name="T8" fmla="*/ 4084 w 5548"/>
                <a:gd name="T9" fmla="*/ 2181 h 3121"/>
                <a:gd name="T10" fmla="*/ 5548 w 5548"/>
                <a:gd name="T11" fmla="*/ 1179 h 3121"/>
                <a:gd name="T12" fmla="*/ 5548 w 5548"/>
                <a:gd name="T13" fmla="*/ 0 h 3121"/>
                <a:gd name="T14" fmla="*/ 3878 w 5548"/>
                <a:gd name="T15" fmla="*/ 0 h 3121"/>
                <a:gd name="T16" fmla="*/ 2668 w 5548"/>
                <a:gd name="T17" fmla="*/ 654 h 3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48" h="3121">
                  <a:moveTo>
                    <a:pt x="2668" y="654"/>
                  </a:moveTo>
                  <a:cubicBezTo>
                    <a:pt x="1644" y="1134"/>
                    <a:pt x="721" y="1446"/>
                    <a:pt x="0" y="1560"/>
                  </a:cubicBezTo>
                  <a:cubicBezTo>
                    <a:pt x="0" y="3121"/>
                    <a:pt x="0" y="3121"/>
                    <a:pt x="0" y="3121"/>
                  </a:cubicBezTo>
                  <a:cubicBezTo>
                    <a:pt x="2075" y="3121"/>
                    <a:pt x="2075" y="3121"/>
                    <a:pt x="2075" y="3121"/>
                  </a:cubicBezTo>
                  <a:cubicBezTo>
                    <a:pt x="2712" y="2895"/>
                    <a:pt x="3394" y="2577"/>
                    <a:pt x="4084" y="2181"/>
                  </a:cubicBezTo>
                  <a:cubicBezTo>
                    <a:pt x="4658" y="1851"/>
                    <a:pt x="5149" y="1515"/>
                    <a:pt x="5548" y="1179"/>
                  </a:cubicBezTo>
                  <a:cubicBezTo>
                    <a:pt x="5548" y="0"/>
                    <a:pt x="5548" y="0"/>
                    <a:pt x="5548" y="0"/>
                  </a:cubicBezTo>
                  <a:cubicBezTo>
                    <a:pt x="3878" y="0"/>
                    <a:pt x="3878" y="0"/>
                    <a:pt x="3878" y="0"/>
                  </a:cubicBezTo>
                  <a:cubicBezTo>
                    <a:pt x="3510" y="229"/>
                    <a:pt x="3102" y="450"/>
                    <a:pt x="2668" y="654"/>
                  </a:cubicBezTo>
                  <a:close/>
                </a:path>
              </a:pathLst>
            </a:custGeom>
            <a:solidFill>
              <a:srgbClr val="990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26"/>
            <p:cNvSpPr>
              <a:spLocks/>
            </p:cNvSpPr>
            <p:nvPr userDrawn="1"/>
          </p:nvSpPr>
          <p:spPr bwMode="invGray">
            <a:xfrm>
              <a:off x="23013988" y="11093450"/>
              <a:ext cx="12304713" cy="8777288"/>
            </a:xfrm>
            <a:custGeom>
              <a:avLst/>
              <a:gdLst>
                <a:gd name="T0" fmla="*/ 0 w 1168"/>
                <a:gd name="T1" fmla="*/ 833 h 833"/>
                <a:gd name="T2" fmla="*/ 1168 w 1168"/>
                <a:gd name="T3" fmla="*/ 833 h 833"/>
                <a:gd name="T4" fmla="*/ 1168 w 1168"/>
                <a:gd name="T5" fmla="*/ 0 h 833"/>
                <a:gd name="T6" fmla="*/ 322 w 1168"/>
                <a:gd name="T7" fmla="*/ 631 h 833"/>
                <a:gd name="T8" fmla="*/ 0 w 1168"/>
                <a:gd name="T9" fmla="*/ 833 h 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8" h="833">
                  <a:moveTo>
                    <a:pt x="0" y="833"/>
                  </a:moveTo>
                  <a:cubicBezTo>
                    <a:pt x="1168" y="833"/>
                    <a:pt x="1168" y="833"/>
                    <a:pt x="1168" y="833"/>
                  </a:cubicBezTo>
                  <a:cubicBezTo>
                    <a:pt x="1168" y="0"/>
                    <a:pt x="1168" y="0"/>
                    <a:pt x="1168" y="0"/>
                  </a:cubicBezTo>
                  <a:cubicBezTo>
                    <a:pt x="917" y="216"/>
                    <a:pt x="634" y="428"/>
                    <a:pt x="322" y="631"/>
                  </a:cubicBezTo>
                  <a:cubicBezTo>
                    <a:pt x="215" y="701"/>
                    <a:pt x="108" y="768"/>
                    <a:pt x="0" y="833"/>
                  </a:cubicBezTo>
                  <a:close/>
                </a:path>
              </a:pathLst>
            </a:custGeom>
            <a:solidFill>
              <a:srgbClr val="00C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27"/>
            <p:cNvSpPr>
              <a:spLocks/>
            </p:cNvSpPr>
            <p:nvPr userDrawn="1"/>
          </p:nvSpPr>
          <p:spPr bwMode="invGray">
            <a:xfrm>
              <a:off x="17410113" y="8218488"/>
              <a:ext cx="17908588" cy="11652250"/>
            </a:xfrm>
            <a:custGeom>
              <a:avLst/>
              <a:gdLst>
                <a:gd name="T0" fmla="*/ 0 w 1700"/>
                <a:gd name="T1" fmla="*/ 1106 h 1106"/>
                <a:gd name="T2" fmla="*/ 532 w 1700"/>
                <a:gd name="T3" fmla="*/ 1106 h 1106"/>
                <a:gd name="T4" fmla="*/ 854 w 1700"/>
                <a:gd name="T5" fmla="*/ 904 h 1106"/>
                <a:gd name="T6" fmla="*/ 1700 w 1700"/>
                <a:gd name="T7" fmla="*/ 273 h 1106"/>
                <a:gd name="T8" fmla="*/ 1700 w 1700"/>
                <a:gd name="T9" fmla="*/ 0 h 1106"/>
                <a:gd name="T10" fmla="*/ 689 w 1700"/>
                <a:gd name="T11" fmla="*/ 717 h 1106"/>
                <a:gd name="T12" fmla="*/ 0 w 1700"/>
                <a:gd name="T13" fmla="*/ 1106 h 1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0" h="1106">
                  <a:moveTo>
                    <a:pt x="0" y="1106"/>
                  </a:moveTo>
                  <a:cubicBezTo>
                    <a:pt x="532" y="1106"/>
                    <a:pt x="532" y="1106"/>
                    <a:pt x="532" y="1106"/>
                  </a:cubicBezTo>
                  <a:cubicBezTo>
                    <a:pt x="640" y="1041"/>
                    <a:pt x="747" y="974"/>
                    <a:pt x="854" y="904"/>
                  </a:cubicBezTo>
                  <a:cubicBezTo>
                    <a:pt x="1166" y="701"/>
                    <a:pt x="1449" y="489"/>
                    <a:pt x="1700" y="273"/>
                  </a:cubicBezTo>
                  <a:cubicBezTo>
                    <a:pt x="1700" y="0"/>
                    <a:pt x="1700" y="0"/>
                    <a:pt x="1700" y="0"/>
                  </a:cubicBezTo>
                  <a:cubicBezTo>
                    <a:pt x="1404" y="252"/>
                    <a:pt x="1065" y="493"/>
                    <a:pt x="689" y="717"/>
                  </a:cubicBezTo>
                  <a:cubicBezTo>
                    <a:pt x="456" y="857"/>
                    <a:pt x="226" y="986"/>
                    <a:pt x="0" y="1106"/>
                  </a:cubicBezTo>
                  <a:close/>
                </a:path>
              </a:pathLst>
            </a:custGeom>
            <a:solidFill>
              <a:srgbClr val="009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invGray">
            <a:xfrm>
              <a:off x="-1268413" y="-590550"/>
              <a:ext cx="36587113" cy="20461288"/>
            </a:xfrm>
            <a:custGeom>
              <a:avLst/>
              <a:gdLst>
                <a:gd name="T0" fmla="*/ 0 w 3473"/>
                <a:gd name="T1" fmla="*/ 1942 h 1942"/>
                <a:gd name="T2" fmla="*/ 1773 w 3473"/>
                <a:gd name="T3" fmla="*/ 1942 h 1942"/>
                <a:gd name="T4" fmla="*/ 2462 w 3473"/>
                <a:gd name="T5" fmla="*/ 1553 h 1942"/>
                <a:gd name="T6" fmla="*/ 3473 w 3473"/>
                <a:gd name="T7" fmla="*/ 836 h 1942"/>
                <a:gd name="T8" fmla="*/ 3473 w 3473"/>
                <a:gd name="T9" fmla="*/ 0 h 1942"/>
                <a:gd name="T10" fmla="*/ 2009 w 3473"/>
                <a:gd name="T11" fmla="*/ 1002 h 1942"/>
                <a:gd name="T12" fmla="*/ 0 w 3473"/>
                <a:gd name="T13" fmla="*/ 1942 h 1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73" h="1942">
                  <a:moveTo>
                    <a:pt x="0" y="1942"/>
                  </a:moveTo>
                  <a:cubicBezTo>
                    <a:pt x="1773" y="1942"/>
                    <a:pt x="1773" y="1942"/>
                    <a:pt x="1773" y="1942"/>
                  </a:cubicBezTo>
                  <a:cubicBezTo>
                    <a:pt x="1999" y="1822"/>
                    <a:pt x="2229" y="1693"/>
                    <a:pt x="2462" y="1553"/>
                  </a:cubicBezTo>
                  <a:cubicBezTo>
                    <a:pt x="2838" y="1329"/>
                    <a:pt x="3177" y="1088"/>
                    <a:pt x="3473" y="836"/>
                  </a:cubicBezTo>
                  <a:cubicBezTo>
                    <a:pt x="3473" y="0"/>
                    <a:pt x="3473" y="0"/>
                    <a:pt x="3473" y="0"/>
                  </a:cubicBezTo>
                  <a:cubicBezTo>
                    <a:pt x="3074" y="336"/>
                    <a:pt x="2583" y="672"/>
                    <a:pt x="2009" y="1002"/>
                  </a:cubicBezTo>
                  <a:cubicBezTo>
                    <a:pt x="1319" y="1398"/>
                    <a:pt x="637" y="1716"/>
                    <a:pt x="0" y="1942"/>
                  </a:cubicBezTo>
                  <a:close/>
                </a:path>
              </a:pathLst>
            </a:custGeom>
            <a:solidFill>
              <a:srgbClr val="00C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" name="Freeform 29"/>
            <p:cNvSpPr>
              <a:spLocks/>
            </p:cNvSpPr>
            <p:nvPr userDrawn="1"/>
          </p:nvSpPr>
          <p:spPr bwMode="invGray">
            <a:xfrm>
              <a:off x="17726025" y="-13012738"/>
              <a:ext cx="17592675" cy="0"/>
            </a:xfrm>
            <a:custGeom>
              <a:avLst/>
              <a:gdLst>
                <a:gd name="T0" fmla="*/ 0 w 1670"/>
                <a:gd name="T1" fmla="*/ 0 w 1670"/>
                <a:gd name="T2" fmla="*/ 1670 w 1670"/>
                <a:gd name="T3" fmla="*/ 1670 w 1670"/>
                <a:gd name="T4" fmla="*/ 0 w 167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67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670" y="0"/>
                    <a:pt x="1670" y="0"/>
                    <a:pt x="1670" y="0"/>
                  </a:cubicBezTo>
                  <a:cubicBezTo>
                    <a:pt x="1670" y="0"/>
                    <a:pt x="1670" y="0"/>
                    <a:pt x="167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90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" name="Rectangle 30"/>
            <p:cNvSpPr>
              <a:spLocks noChangeArrowheads="1"/>
            </p:cNvSpPr>
            <p:nvPr userDrawn="1"/>
          </p:nvSpPr>
          <p:spPr bwMode="invGray">
            <a:xfrm>
              <a:off x="-23126700" y="3424237"/>
              <a:ext cx="1588" cy="16446501"/>
            </a:xfrm>
            <a:prstGeom prst="rect">
              <a:avLst/>
            </a:prstGeom>
            <a:solidFill>
              <a:srgbClr val="990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" name="Freeform 32"/>
            <p:cNvSpPr>
              <a:spLocks/>
            </p:cNvSpPr>
            <p:nvPr userDrawn="1"/>
          </p:nvSpPr>
          <p:spPr bwMode="invGray">
            <a:xfrm>
              <a:off x="-23126700" y="-13012738"/>
              <a:ext cx="40852725" cy="16436975"/>
            </a:xfrm>
            <a:custGeom>
              <a:avLst/>
              <a:gdLst>
                <a:gd name="T0" fmla="*/ 0 w 3878"/>
                <a:gd name="T1" fmla="*/ 0 h 1560"/>
                <a:gd name="T2" fmla="*/ 3878 w 3878"/>
                <a:gd name="T3" fmla="*/ 0 h 1560"/>
                <a:gd name="T4" fmla="*/ 3878 w 3878"/>
                <a:gd name="T5" fmla="*/ 0 h 1560"/>
                <a:gd name="T6" fmla="*/ 0 w 3878"/>
                <a:gd name="T7" fmla="*/ 0 h 1560"/>
                <a:gd name="T8" fmla="*/ 0 w 3878"/>
                <a:gd name="T9" fmla="*/ 1560 h 1560"/>
                <a:gd name="T10" fmla="*/ 0 w 3878"/>
                <a:gd name="T11" fmla="*/ 1560 h 1560"/>
                <a:gd name="T12" fmla="*/ 0 w 3878"/>
                <a:gd name="T13" fmla="*/ 0 h 1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78" h="1560">
                  <a:moveTo>
                    <a:pt x="0" y="0"/>
                  </a:moveTo>
                  <a:cubicBezTo>
                    <a:pt x="3878" y="0"/>
                    <a:pt x="3878" y="0"/>
                    <a:pt x="3878" y="0"/>
                  </a:cubicBezTo>
                  <a:cubicBezTo>
                    <a:pt x="3878" y="0"/>
                    <a:pt x="3878" y="0"/>
                    <a:pt x="387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560"/>
                    <a:pt x="0" y="1560"/>
                    <a:pt x="0" y="1560"/>
                  </a:cubicBezTo>
                  <a:cubicBezTo>
                    <a:pt x="0" y="1560"/>
                    <a:pt x="0" y="1560"/>
                    <a:pt x="0" y="156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CC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" name="Freeform 33"/>
            <p:cNvSpPr>
              <a:spLocks/>
            </p:cNvSpPr>
            <p:nvPr userDrawn="1"/>
          </p:nvSpPr>
          <p:spPr bwMode="invGray">
            <a:xfrm>
              <a:off x="-23126700" y="-13012738"/>
              <a:ext cx="40852725" cy="16436975"/>
            </a:xfrm>
            <a:custGeom>
              <a:avLst/>
              <a:gdLst>
                <a:gd name="T0" fmla="*/ 0 w 3878"/>
                <a:gd name="T1" fmla="*/ 1560 h 1560"/>
                <a:gd name="T2" fmla="*/ 2668 w 3878"/>
                <a:gd name="T3" fmla="*/ 654 h 1560"/>
                <a:gd name="T4" fmla="*/ 3878 w 3878"/>
                <a:gd name="T5" fmla="*/ 0 h 1560"/>
                <a:gd name="T6" fmla="*/ 0 w 3878"/>
                <a:gd name="T7" fmla="*/ 0 h 1560"/>
                <a:gd name="T8" fmla="*/ 0 w 3878"/>
                <a:gd name="T9" fmla="*/ 1560 h 1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78" h="1560">
                  <a:moveTo>
                    <a:pt x="0" y="1560"/>
                  </a:moveTo>
                  <a:cubicBezTo>
                    <a:pt x="721" y="1446"/>
                    <a:pt x="1644" y="1134"/>
                    <a:pt x="2668" y="654"/>
                  </a:cubicBezTo>
                  <a:cubicBezTo>
                    <a:pt x="3102" y="450"/>
                    <a:pt x="3510" y="229"/>
                    <a:pt x="387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560"/>
                  </a:lnTo>
                  <a:close/>
                </a:path>
              </a:pathLst>
            </a:custGeom>
            <a:solidFill>
              <a:srgbClr val="CC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538164"/>
            <a:ext cx="8291511" cy="3975099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865860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  <p:hf sldNum="0"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 hasCustomPrompt="1"/>
          </p:nvPr>
        </p:nvSpPr>
        <p:spPr>
          <a:xfrm>
            <a:off x="539999" y="1793875"/>
            <a:ext cx="11112251" cy="4167188"/>
          </a:xfrm>
        </p:spPr>
        <p:txBody>
          <a:bodyPr/>
          <a:lstStyle>
            <a:lvl1pPr>
              <a:tabLst>
                <a:tab pos="896938" algn="l"/>
              </a:tabLst>
              <a:defRPr/>
            </a:lvl1pPr>
            <a:lvl2pPr marL="576000" indent="-284400">
              <a:tabLst>
                <a:tab pos="896938" algn="l"/>
              </a:tabLst>
              <a:defRPr/>
            </a:lvl2pPr>
            <a:lvl3pPr marL="864000" indent="-277200">
              <a:tabLst>
                <a:tab pos="896938" algn="l"/>
              </a:tabLst>
              <a:defRPr/>
            </a:lvl3pPr>
            <a:lvl4pPr marL="864000" indent="-1588">
              <a:tabLst>
                <a:tab pos="896938" algn="l"/>
              </a:tabLst>
              <a:defRPr/>
            </a:lvl4pPr>
            <a:lvl5pPr marL="864000" indent="-1588">
              <a:tabLst>
                <a:tab pos="896938" algn="l"/>
              </a:tabLst>
              <a:defRPr/>
            </a:lvl5pPr>
          </a:lstStyle>
          <a:p>
            <a:pPr lvl="0"/>
            <a:r>
              <a:rPr lang="sv-SE" noProof="0" dirty="0" err="1"/>
              <a:t>Click</a:t>
            </a:r>
            <a:r>
              <a:rPr lang="sv-SE" noProof="0" dirty="0"/>
              <a:t> to </a:t>
            </a:r>
            <a:r>
              <a:rPr lang="sv-SE" noProof="0" dirty="0" err="1"/>
              <a:t>edit</a:t>
            </a:r>
            <a:r>
              <a:rPr lang="sv-SE" noProof="0" dirty="0"/>
              <a:t> Master text </a:t>
            </a:r>
            <a:r>
              <a:rPr lang="sv-SE" noProof="0" dirty="0" err="1"/>
              <a:t>styles</a:t>
            </a:r>
            <a:endParaRPr lang="sv-SE" noProof="0" dirty="0"/>
          </a:p>
          <a:p>
            <a:pPr lvl="1"/>
            <a:r>
              <a:rPr lang="sv-SE" noProof="0" dirty="0"/>
              <a:t>Second </a:t>
            </a:r>
            <a:r>
              <a:rPr lang="sv-SE" noProof="0" dirty="0" err="1"/>
              <a:t>level</a:t>
            </a:r>
            <a:endParaRPr lang="sv-SE" noProof="0" dirty="0"/>
          </a:p>
          <a:p>
            <a:pPr lvl="2"/>
            <a:r>
              <a:rPr lang="sv-SE" noProof="0" dirty="0" err="1"/>
              <a:t>Third</a:t>
            </a:r>
            <a:r>
              <a:rPr lang="sv-SE" noProof="0" dirty="0"/>
              <a:t> </a:t>
            </a:r>
            <a:r>
              <a:rPr lang="sv-SE" noProof="0" dirty="0" err="1"/>
              <a:t>level</a:t>
            </a:r>
            <a:endParaRPr lang="sv-SE" noProof="0" dirty="0"/>
          </a:p>
          <a:p>
            <a:pPr lvl="3"/>
            <a:r>
              <a:rPr lang="sv-SE" noProof="0" dirty="0" err="1"/>
              <a:t>Fourth</a:t>
            </a:r>
            <a:r>
              <a:rPr lang="sv-SE" noProof="0" dirty="0"/>
              <a:t> </a:t>
            </a:r>
            <a:r>
              <a:rPr lang="sv-SE" noProof="0" dirty="0" err="1"/>
              <a:t>level</a:t>
            </a:r>
            <a:endParaRPr lang="sv-SE" noProof="0" dirty="0"/>
          </a:p>
          <a:p>
            <a:pPr lvl="4"/>
            <a:r>
              <a:rPr lang="sv-SE" noProof="0" dirty="0" err="1"/>
              <a:t>Fifth</a:t>
            </a:r>
            <a:r>
              <a:rPr lang="sv-SE" noProof="0" dirty="0"/>
              <a:t> </a:t>
            </a:r>
            <a:r>
              <a:rPr lang="sv-SE" noProof="0" dirty="0" err="1"/>
              <a:t>level</a:t>
            </a:r>
            <a:endParaRPr lang="sv-SE" noProof="0" dirty="0"/>
          </a:p>
        </p:txBody>
      </p:sp>
    </p:spTree>
    <p:extLst>
      <p:ext uri="{BB962C8B-B14F-4D97-AF65-F5344CB8AC3E}">
        <p14:creationId xmlns:p14="http://schemas.microsoft.com/office/powerpoint/2010/main" val="1004798727"/>
      </p:ext>
    </p:extLst>
  </p:cSld>
  <p:clrMapOvr>
    <a:masterClrMapping/>
  </p:clrMapOvr>
  <p:transition>
    <p:fade/>
  </p:transition>
  <p:hf sldNum="0"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538164" y="1793876"/>
            <a:ext cx="5467350" cy="41671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6184900" y="1793876"/>
            <a:ext cx="5467350" cy="41671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83242953"/>
      </p:ext>
    </p:extLst>
  </p:cSld>
  <p:clrMapOvr>
    <a:masterClrMapping/>
  </p:clrMapOvr>
  <p:transition>
    <p:fade/>
  </p:transition>
  <p:hf sldNum="0"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3"/>
          </p:nvPr>
        </p:nvSpPr>
        <p:spPr>
          <a:xfrm>
            <a:off x="541602" y="1793876"/>
            <a:ext cx="3583549" cy="4167188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200"/>
              </a:spcBef>
              <a:defRPr sz="12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4"/>
          </p:nvPr>
        </p:nvSpPr>
        <p:spPr>
          <a:xfrm>
            <a:off x="4305151" y="1793876"/>
            <a:ext cx="3583137" cy="4167187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200"/>
              </a:spcBef>
              <a:defRPr sz="12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5"/>
          </p:nvPr>
        </p:nvSpPr>
        <p:spPr>
          <a:xfrm>
            <a:off x="8068700" y="1793876"/>
            <a:ext cx="3583550" cy="4167188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200"/>
              </a:spcBef>
              <a:defRPr sz="12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89597807"/>
      </p:ext>
    </p:extLst>
  </p:cSld>
  <p:clrMapOvr>
    <a:masterClrMapping/>
  </p:clrMapOvr>
  <p:transition>
    <p:fade/>
  </p:transition>
  <p:hf sldNum="0" hd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</a:t>
            </a:r>
            <a:r>
              <a:rPr lang="en-US" dirty="0" err="1"/>
              <a:t>TO</a:t>
            </a:r>
            <a:r>
              <a:rPr lang="en-US" dirty="0"/>
              <a:t> Add title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540000" y="1793875"/>
            <a:ext cx="2644526" cy="4167188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200"/>
              </a:spcBef>
              <a:defRPr sz="12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3368202" y="1793875"/>
            <a:ext cx="2643188" cy="4167188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200"/>
              </a:spcBef>
              <a:defRPr sz="12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5"/>
          </p:nvPr>
        </p:nvSpPr>
        <p:spPr>
          <a:xfrm>
            <a:off x="6175849" y="1793876"/>
            <a:ext cx="2646363" cy="4167188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200"/>
              </a:spcBef>
              <a:defRPr sz="12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/>
          </p:nvPr>
        </p:nvSpPr>
        <p:spPr>
          <a:xfrm>
            <a:off x="9005888" y="1793876"/>
            <a:ext cx="2646362" cy="4167187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200"/>
              </a:spcBef>
              <a:defRPr sz="12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08190046"/>
      </p:ext>
    </p:extLst>
  </p:cSld>
  <p:clrMapOvr>
    <a:masterClrMapping/>
  </p:clrMapOvr>
  <p:transition>
    <p:fade/>
  </p:transition>
  <p:hf sldNum="0" hd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040617" y="6421919"/>
            <a:ext cx="3964896" cy="153888"/>
          </a:xfrm>
        </p:spPr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184900" y="0"/>
            <a:ext cx="6007100" cy="6858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540000" y="1793876"/>
            <a:ext cx="5465514" cy="41671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40000" y="538163"/>
            <a:ext cx="5465514" cy="1079500"/>
          </a:xfrm>
        </p:spPr>
        <p:txBody>
          <a:bodyPr/>
          <a:lstStyle/>
          <a:p>
            <a:r>
              <a:rPr lang="en-US" dirty="0"/>
              <a:t>CLICK TO Add tit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64457040"/>
      </p:ext>
    </p:extLst>
  </p:cSld>
  <p:clrMapOvr>
    <a:masterClrMapping/>
  </p:clrMapOvr>
  <p:transition>
    <p:fade/>
  </p:transition>
  <p:hf sldNum="0" hd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8163" y="1793875"/>
            <a:ext cx="11114087" cy="4167188"/>
          </a:xfrm>
        </p:spPr>
        <p:txBody>
          <a:bodyPr/>
          <a:lstStyle>
            <a:lvl1pPr>
              <a:defRPr sz="3000"/>
            </a:lvl1pPr>
            <a:lvl2pPr>
              <a:defRPr sz="300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54673400"/>
      </p:ext>
    </p:extLst>
  </p:cSld>
  <p:clrMapOvr>
    <a:masterClrMapping/>
  </p:clrMapOvr>
  <p:transition>
    <p:fade/>
  </p:transition>
  <p:hf sldNum="0" hd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3049599"/>
      </p:ext>
    </p:extLst>
  </p:cSld>
  <p:clrMapOvr>
    <a:masterClrMapping/>
  </p:clrMapOvr>
  <p:transition>
    <p:fade/>
  </p:transition>
  <p:hf sldNum="0" hd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8608919"/>
      </p:ext>
    </p:extLst>
  </p:cSld>
  <p:clrMapOvr>
    <a:masterClrMapping/>
  </p:clrMapOvr>
  <p:transition>
    <p:fade/>
  </p:transition>
  <p:hf sldNum="0"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0" tIns="180000" rIns="360000" bIns="180000" rtlCol="0" anchor="ctr">
            <a:spAutoFit/>
          </a:bodyPr>
          <a:lstStyle/>
          <a:p>
            <a:pPr algn="ctr"/>
            <a:endParaRPr lang="en-GB" sz="2000" dirty="0" smtClean="0"/>
          </a:p>
        </p:txBody>
      </p:sp>
      <p:sp>
        <p:nvSpPr>
          <p:cNvPr id="9" name="Rectangle 8"/>
          <p:cNvSpPr/>
          <p:nvPr userDrawn="1"/>
        </p:nvSpPr>
        <p:spPr>
          <a:xfrm>
            <a:off x="238" y="6172200"/>
            <a:ext cx="12191762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58776"/>
            <a:ext cx="5737225" cy="83715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775" y="1616075"/>
            <a:ext cx="5737225" cy="457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F21433-5D70-42D0-A129-835811F9CD51}" type="datetime1">
              <a:rPr lang="en-GB" smtClean="0"/>
              <a:t>10/12/2017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FOOTER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6096000" y="-1"/>
            <a:ext cx="6096000" cy="61722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6334544"/>
            <a:ext cx="345567" cy="361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281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Hol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Placeholder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" r="226"/>
          <a:stretch>
            <a:fillRect/>
          </a:stretch>
        </p:blipFill>
        <p:spPr>
          <a:xfrm>
            <a:off x="2749799" y="2431150"/>
            <a:ext cx="6692651" cy="1988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733330"/>
      </p:ext>
    </p:extLst>
  </p:cSld>
  <p:clrMapOvr>
    <a:masterClrMapping/>
  </p:clrMapOvr>
  <p:transition>
    <p:fade/>
  </p:transition>
  <p:hf sldNum="0" hdr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3494" y="1173476"/>
            <a:ext cx="5732507" cy="3741425"/>
          </a:xfrm>
        </p:spPr>
        <p:txBody>
          <a:bodyPr tIns="36000" rIns="180000" anchor="t">
            <a:noAutofit/>
          </a:bodyPr>
          <a:lstStyle>
            <a:lvl1pPr algn="l">
              <a:lnSpc>
                <a:spcPct val="80000"/>
              </a:lnSpc>
              <a:defRPr sz="55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8776" y="4914901"/>
            <a:ext cx="5737225" cy="1311728"/>
          </a:xfr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58776" y="6239175"/>
            <a:ext cx="2873329" cy="307777"/>
          </a:xfrm>
        </p:spPr>
        <p:txBody>
          <a:bodyPr anchor="t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800"/>
            </a:lvl1pPr>
          </a:lstStyle>
          <a:p>
            <a:fld id="{19F5FF46-0854-47F5-B82B-46D6712B048E}" type="datetime1">
              <a:rPr lang="en-GB" smtClean="0">
                <a:solidFill>
                  <a:prstClr val="black"/>
                </a:solidFill>
              </a:rPr>
              <a:pPr/>
              <a:t>10/12/2017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1" hasCustomPrompt="1"/>
          </p:nvPr>
        </p:nvSpPr>
        <p:spPr>
          <a:xfrm>
            <a:off x="6096000" y="0"/>
            <a:ext cx="6096000" cy="6859301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en-GB" dirty="0"/>
              <a:t>Placeholder for Pebble images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529" y="368863"/>
            <a:ext cx="1337228" cy="541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38672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C40FFF0-F7DD-407A-9AA6-72E7E3690154}" type="datetime1">
              <a:rPr lang="en-GB" smtClean="0">
                <a:solidFill>
                  <a:prstClr val="black"/>
                </a:solidFill>
              </a:rPr>
              <a:pPr/>
              <a:t>10/12/2017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prstClr val="black"/>
                </a:solidFill>
              </a:rPr>
              <a:t>PRESENTATION FOOTER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58776" y="1616075"/>
            <a:ext cx="11471275" cy="457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056466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1" y="1"/>
            <a:ext cx="12192001" cy="6858000"/>
            <a:chOff x="0" y="0"/>
            <a:chExt cx="12192001" cy="6858001"/>
          </a:xfrm>
        </p:grpSpPr>
        <p:sp>
          <p:nvSpPr>
            <p:cNvPr id="9" name="Freeform 5"/>
            <p:cNvSpPr>
              <a:spLocks/>
            </p:cNvSpPr>
            <p:nvPr userDrawn="1"/>
          </p:nvSpPr>
          <p:spPr bwMode="auto">
            <a:xfrm>
              <a:off x="0" y="0"/>
              <a:ext cx="8556625" cy="3794125"/>
            </a:xfrm>
            <a:custGeom>
              <a:avLst/>
              <a:gdLst>
                <a:gd name="T0" fmla="*/ 0 w 5390"/>
                <a:gd name="T1" fmla="*/ 2390 h 2390"/>
                <a:gd name="T2" fmla="*/ 0 w 5390"/>
                <a:gd name="T3" fmla="*/ 2390 h 2390"/>
                <a:gd name="T4" fmla="*/ 86 w 5390"/>
                <a:gd name="T5" fmla="*/ 2371 h 2390"/>
                <a:gd name="T6" fmla="*/ 174 w 5390"/>
                <a:gd name="T7" fmla="*/ 2351 h 2390"/>
                <a:gd name="T8" fmla="*/ 263 w 5390"/>
                <a:gd name="T9" fmla="*/ 2328 h 2390"/>
                <a:gd name="T10" fmla="*/ 353 w 5390"/>
                <a:gd name="T11" fmla="*/ 2305 h 2390"/>
                <a:gd name="T12" fmla="*/ 443 w 5390"/>
                <a:gd name="T13" fmla="*/ 2281 h 2390"/>
                <a:gd name="T14" fmla="*/ 534 w 5390"/>
                <a:gd name="T15" fmla="*/ 2256 h 2390"/>
                <a:gd name="T16" fmla="*/ 628 w 5390"/>
                <a:gd name="T17" fmla="*/ 2230 h 2390"/>
                <a:gd name="T18" fmla="*/ 721 w 5390"/>
                <a:gd name="T19" fmla="*/ 2202 h 2390"/>
                <a:gd name="T20" fmla="*/ 815 w 5390"/>
                <a:gd name="T21" fmla="*/ 2174 h 2390"/>
                <a:gd name="T22" fmla="*/ 911 w 5390"/>
                <a:gd name="T23" fmla="*/ 2144 h 2390"/>
                <a:gd name="T24" fmla="*/ 1007 w 5390"/>
                <a:gd name="T25" fmla="*/ 2113 h 2390"/>
                <a:gd name="T26" fmla="*/ 1104 w 5390"/>
                <a:gd name="T27" fmla="*/ 2082 h 2390"/>
                <a:gd name="T28" fmla="*/ 1202 w 5390"/>
                <a:gd name="T29" fmla="*/ 2050 h 2390"/>
                <a:gd name="T30" fmla="*/ 1302 w 5390"/>
                <a:gd name="T31" fmla="*/ 2015 h 2390"/>
                <a:gd name="T32" fmla="*/ 1502 w 5390"/>
                <a:gd name="T33" fmla="*/ 1944 h 2390"/>
                <a:gd name="T34" fmla="*/ 1706 w 5390"/>
                <a:gd name="T35" fmla="*/ 1870 h 2390"/>
                <a:gd name="T36" fmla="*/ 1914 w 5390"/>
                <a:gd name="T37" fmla="*/ 1789 h 2390"/>
                <a:gd name="T38" fmla="*/ 2124 w 5390"/>
                <a:gd name="T39" fmla="*/ 1706 h 2390"/>
                <a:gd name="T40" fmla="*/ 2338 w 5390"/>
                <a:gd name="T41" fmla="*/ 1619 h 2390"/>
                <a:gd name="T42" fmla="*/ 2554 w 5390"/>
                <a:gd name="T43" fmla="*/ 1526 h 2390"/>
                <a:gd name="T44" fmla="*/ 2773 w 5390"/>
                <a:gd name="T45" fmla="*/ 1432 h 2390"/>
                <a:gd name="T46" fmla="*/ 2995 w 5390"/>
                <a:gd name="T47" fmla="*/ 1332 h 2390"/>
                <a:gd name="T48" fmla="*/ 3218 w 5390"/>
                <a:gd name="T49" fmla="*/ 1228 h 2390"/>
                <a:gd name="T50" fmla="*/ 3218 w 5390"/>
                <a:gd name="T51" fmla="*/ 1228 h 2390"/>
                <a:gd name="T52" fmla="*/ 3368 w 5390"/>
                <a:gd name="T53" fmla="*/ 1157 h 2390"/>
                <a:gd name="T54" fmla="*/ 3517 w 5390"/>
                <a:gd name="T55" fmla="*/ 1085 h 2390"/>
                <a:gd name="T56" fmla="*/ 3664 w 5390"/>
                <a:gd name="T57" fmla="*/ 1012 h 2390"/>
                <a:gd name="T58" fmla="*/ 3809 w 5390"/>
                <a:gd name="T59" fmla="*/ 937 h 2390"/>
                <a:gd name="T60" fmla="*/ 3952 w 5390"/>
                <a:gd name="T61" fmla="*/ 863 h 2390"/>
                <a:gd name="T62" fmla="*/ 4093 w 5390"/>
                <a:gd name="T63" fmla="*/ 787 h 2390"/>
                <a:gd name="T64" fmla="*/ 4232 w 5390"/>
                <a:gd name="T65" fmla="*/ 710 h 2390"/>
                <a:gd name="T66" fmla="*/ 4370 w 5390"/>
                <a:gd name="T67" fmla="*/ 634 h 2390"/>
                <a:gd name="T68" fmla="*/ 4506 w 5390"/>
                <a:gd name="T69" fmla="*/ 556 h 2390"/>
                <a:gd name="T70" fmla="*/ 4639 w 5390"/>
                <a:gd name="T71" fmla="*/ 478 h 2390"/>
                <a:gd name="T72" fmla="*/ 4770 w 5390"/>
                <a:gd name="T73" fmla="*/ 400 h 2390"/>
                <a:gd name="T74" fmla="*/ 4900 w 5390"/>
                <a:gd name="T75" fmla="*/ 320 h 2390"/>
                <a:gd name="T76" fmla="*/ 5026 w 5390"/>
                <a:gd name="T77" fmla="*/ 240 h 2390"/>
                <a:gd name="T78" fmla="*/ 5150 w 5390"/>
                <a:gd name="T79" fmla="*/ 161 h 2390"/>
                <a:gd name="T80" fmla="*/ 5272 w 5390"/>
                <a:gd name="T81" fmla="*/ 80 h 2390"/>
                <a:gd name="T82" fmla="*/ 5390 w 5390"/>
                <a:gd name="T83" fmla="*/ 0 h 2390"/>
                <a:gd name="T84" fmla="*/ 0 w 5390"/>
                <a:gd name="T85" fmla="*/ 0 h 2390"/>
                <a:gd name="T86" fmla="*/ 0 w 5390"/>
                <a:gd name="T87" fmla="*/ 2390 h 2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90" h="2390">
                  <a:moveTo>
                    <a:pt x="0" y="2390"/>
                  </a:moveTo>
                  <a:lnTo>
                    <a:pt x="0" y="2390"/>
                  </a:lnTo>
                  <a:lnTo>
                    <a:pt x="86" y="2371"/>
                  </a:lnTo>
                  <a:lnTo>
                    <a:pt x="174" y="2351"/>
                  </a:lnTo>
                  <a:lnTo>
                    <a:pt x="263" y="2328"/>
                  </a:lnTo>
                  <a:lnTo>
                    <a:pt x="353" y="2305"/>
                  </a:lnTo>
                  <a:lnTo>
                    <a:pt x="443" y="2281"/>
                  </a:lnTo>
                  <a:lnTo>
                    <a:pt x="534" y="2256"/>
                  </a:lnTo>
                  <a:lnTo>
                    <a:pt x="628" y="2230"/>
                  </a:lnTo>
                  <a:lnTo>
                    <a:pt x="721" y="2202"/>
                  </a:lnTo>
                  <a:lnTo>
                    <a:pt x="815" y="2174"/>
                  </a:lnTo>
                  <a:lnTo>
                    <a:pt x="911" y="2144"/>
                  </a:lnTo>
                  <a:lnTo>
                    <a:pt x="1007" y="2113"/>
                  </a:lnTo>
                  <a:lnTo>
                    <a:pt x="1104" y="2082"/>
                  </a:lnTo>
                  <a:lnTo>
                    <a:pt x="1202" y="2050"/>
                  </a:lnTo>
                  <a:lnTo>
                    <a:pt x="1302" y="2015"/>
                  </a:lnTo>
                  <a:lnTo>
                    <a:pt x="1502" y="1944"/>
                  </a:lnTo>
                  <a:lnTo>
                    <a:pt x="1706" y="1870"/>
                  </a:lnTo>
                  <a:lnTo>
                    <a:pt x="1914" y="1789"/>
                  </a:lnTo>
                  <a:lnTo>
                    <a:pt x="2124" y="1706"/>
                  </a:lnTo>
                  <a:lnTo>
                    <a:pt x="2338" y="1619"/>
                  </a:lnTo>
                  <a:lnTo>
                    <a:pt x="2554" y="1526"/>
                  </a:lnTo>
                  <a:lnTo>
                    <a:pt x="2773" y="1432"/>
                  </a:lnTo>
                  <a:lnTo>
                    <a:pt x="2995" y="1332"/>
                  </a:lnTo>
                  <a:lnTo>
                    <a:pt x="3218" y="1228"/>
                  </a:lnTo>
                  <a:lnTo>
                    <a:pt x="3218" y="1228"/>
                  </a:lnTo>
                  <a:lnTo>
                    <a:pt x="3368" y="1157"/>
                  </a:lnTo>
                  <a:lnTo>
                    <a:pt x="3517" y="1085"/>
                  </a:lnTo>
                  <a:lnTo>
                    <a:pt x="3664" y="1012"/>
                  </a:lnTo>
                  <a:lnTo>
                    <a:pt x="3809" y="937"/>
                  </a:lnTo>
                  <a:lnTo>
                    <a:pt x="3952" y="863"/>
                  </a:lnTo>
                  <a:lnTo>
                    <a:pt x="4093" y="787"/>
                  </a:lnTo>
                  <a:lnTo>
                    <a:pt x="4232" y="710"/>
                  </a:lnTo>
                  <a:lnTo>
                    <a:pt x="4370" y="634"/>
                  </a:lnTo>
                  <a:lnTo>
                    <a:pt x="4506" y="556"/>
                  </a:lnTo>
                  <a:lnTo>
                    <a:pt x="4639" y="478"/>
                  </a:lnTo>
                  <a:lnTo>
                    <a:pt x="4770" y="400"/>
                  </a:lnTo>
                  <a:lnTo>
                    <a:pt x="4900" y="320"/>
                  </a:lnTo>
                  <a:lnTo>
                    <a:pt x="5026" y="240"/>
                  </a:lnTo>
                  <a:lnTo>
                    <a:pt x="5150" y="161"/>
                  </a:lnTo>
                  <a:lnTo>
                    <a:pt x="5272" y="80"/>
                  </a:lnTo>
                  <a:lnTo>
                    <a:pt x="5390" y="0"/>
                  </a:lnTo>
                  <a:lnTo>
                    <a:pt x="0" y="0"/>
                  </a:lnTo>
                  <a:lnTo>
                    <a:pt x="0" y="2390"/>
                  </a:lnTo>
                  <a:close/>
                </a:path>
              </a:pathLst>
            </a:custGeom>
            <a:solidFill>
              <a:srgbClr val="CC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en-GB" dirty="0">
                <a:solidFill>
                  <a:prstClr val="black"/>
                </a:solidFill>
                <a:latin typeface="Helvetica Neue Thin"/>
                <a:cs typeface="Arial"/>
                <a:sym typeface="Arial"/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4895850" y="2306638"/>
              <a:ext cx="7296150" cy="4551363"/>
            </a:xfrm>
            <a:custGeom>
              <a:avLst/>
              <a:gdLst>
                <a:gd name="T0" fmla="*/ 4596 w 4596"/>
                <a:gd name="T1" fmla="*/ 0 h 2867"/>
                <a:gd name="T2" fmla="*/ 4476 w 4596"/>
                <a:gd name="T3" fmla="*/ 114 h 2867"/>
                <a:gd name="T4" fmla="*/ 4351 w 4596"/>
                <a:gd name="T5" fmla="*/ 229 h 2867"/>
                <a:gd name="T6" fmla="*/ 4222 w 4596"/>
                <a:gd name="T7" fmla="*/ 346 h 2867"/>
                <a:gd name="T8" fmla="*/ 4086 w 4596"/>
                <a:gd name="T9" fmla="*/ 461 h 2867"/>
                <a:gd name="T10" fmla="*/ 3946 w 4596"/>
                <a:gd name="T11" fmla="*/ 576 h 2867"/>
                <a:gd name="T12" fmla="*/ 3800 w 4596"/>
                <a:gd name="T13" fmla="*/ 691 h 2867"/>
                <a:gd name="T14" fmla="*/ 3649 w 4596"/>
                <a:gd name="T15" fmla="*/ 808 h 2867"/>
                <a:gd name="T16" fmla="*/ 3494 w 4596"/>
                <a:gd name="T17" fmla="*/ 923 h 2867"/>
                <a:gd name="T18" fmla="*/ 3334 w 4596"/>
                <a:gd name="T19" fmla="*/ 1038 h 2867"/>
                <a:gd name="T20" fmla="*/ 3167 w 4596"/>
                <a:gd name="T21" fmla="*/ 1153 h 2867"/>
                <a:gd name="T22" fmla="*/ 2996 w 4596"/>
                <a:gd name="T23" fmla="*/ 1269 h 2867"/>
                <a:gd name="T24" fmla="*/ 2821 w 4596"/>
                <a:gd name="T25" fmla="*/ 1384 h 2867"/>
                <a:gd name="T26" fmla="*/ 2454 w 4596"/>
                <a:gd name="T27" fmla="*/ 1613 h 2867"/>
                <a:gd name="T28" fmla="*/ 2068 w 4596"/>
                <a:gd name="T29" fmla="*/ 1841 h 2867"/>
                <a:gd name="T30" fmla="*/ 1936 w 4596"/>
                <a:gd name="T31" fmla="*/ 1915 h 2867"/>
                <a:gd name="T32" fmla="*/ 1674 w 4596"/>
                <a:gd name="T33" fmla="*/ 2062 h 2867"/>
                <a:gd name="T34" fmla="*/ 1412 w 4596"/>
                <a:gd name="T35" fmla="*/ 2201 h 2867"/>
                <a:gd name="T36" fmla="*/ 1151 w 4596"/>
                <a:gd name="T37" fmla="*/ 2335 h 2867"/>
                <a:gd name="T38" fmla="*/ 892 w 4596"/>
                <a:gd name="T39" fmla="*/ 2464 h 2867"/>
                <a:gd name="T40" fmla="*/ 635 w 4596"/>
                <a:gd name="T41" fmla="*/ 2587 h 2867"/>
                <a:gd name="T42" fmla="*/ 379 w 4596"/>
                <a:gd name="T43" fmla="*/ 2704 h 2867"/>
                <a:gd name="T44" fmla="*/ 126 w 4596"/>
                <a:gd name="T45" fmla="*/ 2814 h 2867"/>
                <a:gd name="T46" fmla="*/ 2354 w 4596"/>
                <a:gd name="T47" fmla="*/ 2867 h 2867"/>
                <a:gd name="T48" fmla="*/ 2538 w 4596"/>
                <a:gd name="T49" fmla="*/ 2760 h 2867"/>
                <a:gd name="T50" fmla="*/ 2723 w 4596"/>
                <a:gd name="T51" fmla="*/ 2652 h 2867"/>
                <a:gd name="T52" fmla="*/ 2858 w 4596"/>
                <a:gd name="T53" fmla="*/ 2569 h 2867"/>
                <a:gd name="T54" fmla="*/ 3124 w 4596"/>
                <a:gd name="T55" fmla="*/ 2401 h 2867"/>
                <a:gd name="T56" fmla="*/ 3378 w 4596"/>
                <a:gd name="T57" fmla="*/ 2229 h 2867"/>
                <a:gd name="T58" fmla="*/ 3624 w 4596"/>
                <a:gd name="T59" fmla="*/ 2051 h 2867"/>
                <a:gd name="T60" fmla="*/ 3859 w 4596"/>
                <a:gd name="T61" fmla="*/ 1871 h 2867"/>
                <a:gd name="T62" fmla="*/ 4084 w 4596"/>
                <a:gd name="T63" fmla="*/ 1687 h 2867"/>
                <a:gd name="T64" fmla="*/ 4297 w 4596"/>
                <a:gd name="T65" fmla="*/ 1500 h 2867"/>
                <a:gd name="T66" fmla="*/ 4499 w 4596"/>
                <a:gd name="T67" fmla="*/ 1311 h 2867"/>
                <a:gd name="T68" fmla="*/ 4596 w 4596"/>
                <a:gd name="T69" fmla="*/ 0 h 2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596" h="2867">
                  <a:moveTo>
                    <a:pt x="4596" y="0"/>
                  </a:moveTo>
                  <a:lnTo>
                    <a:pt x="4596" y="0"/>
                  </a:lnTo>
                  <a:lnTo>
                    <a:pt x="4537" y="58"/>
                  </a:lnTo>
                  <a:lnTo>
                    <a:pt x="4476" y="114"/>
                  </a:lnTo>
                  <a:lnTo>
                    <a:pt x="4415" y="172"/>
                  </a:lnTo>
                  <a:lnTo>
                    <a:pt x="4351" y="229"/>
                  </a:lnTo>
                  <a:lnTo>
                    <a:pt x="4288" y="288"/>
                  </a:lnTo>
                  <a:lnTo>
                    <a:pt x="4222" y="346"/>
                  </a:lnTo>
                  <a:lnTo>
                    <a:pt x="4154" y="403"/>
                  </a:lnTo>
                  <a:lnTo>
                    <a:pt x="4086" y="461"/>
                  </a:lnTo>
                  <a:lnTo>
                    <a:pt x="4016" y="519"/>
                  </a:lnTo>
                  <a:lnTo>
                    <a:pt x="3946" y="576"/>
                  </a:lnTo>
                  <a:lnTo>
                    <a:pt x="3874" y="634"/>
                  </a:lnTo>
                  <a:lnTo>
                    <a:pt x="3800" y="691"/>
                  </a:lnTo>
                  <a:lnTo>
                    <a:pt x="3726" y="749"/>
                  </a:lnTo>
                  <a:lnTo>
                    <a:pt x="3649" y="808"/>
                  </a:lnTo>
                  <a:lnTo>
                    <a:pt x="3572" y="865"/>
                  </a:lnTo>
                  <a:lnTo>
                    <a:pt x="3494" y="923"/>
                  </a:lnTo>
                  <a:lnTo>
                    <a:pt x="3414" y="981"/>
                  </a:lnTo>
                  <a:lnTo>
                    <a:pt x="3334" y="1038"/>
                  </a:lnTo>
                  <a:lnTo>
                    <a:pt x="3251" y="1096"/>
                  </a:lnTo>
                  <a:lnTo>
                    <a:pt x="3167" y="1153"/>
                  </a:lnTo>
                  <a:lnTo>
                    <a:pt x="3083" y="1211"/>
                  </a:lnTo>
                  <a:lnTo>
                    <a:pt x="2996" y="1269"/>
                  </a:lnTo>
                  <a:lnTo>
                    <a:pt x="2909" y="1326"/>
                  </a:lnTo>
                  <a:lnTo>
                    <a:pt x="2821" y="1384"/>
                  </a:lnTo>
                  <a:lnTo>
                    <a:pt x="2640" y="1498"/>
                  </a:lnTo>
                  <a:lnTo>
                    <a:pt x="2454" y="1613"/>
                  </a:lnTo>
                  <a:lnTo>
                    <a:pt x="2263" y="1727"/>
                  </a:lnTo>
                  <a:lnTo>
                    <a:pt x="2068" y="1841"/>
                  </a:lnTo>
                  <a:lnTo>
                    <a:pt x="2068" y="1841"/>
                  </a:lnTo>
                  <a:lnTo>
                    <a:pt x="1936" y="1915"/>
                  </a:lnTo>
                  <a:lnTo>
                    <a:pt x="1805" y="1990"/>
                  </a:lnTo>
                  <a:lnTo>
                    <a:pt x="1674" y="2062"/>
                  </a:lnTo>
                  <a:lnTo>
                    <a:pt x="1542" y="2133"/>
                  </a:lnTo>
                  <a:lnTo>
                    <a:pt x="1412" y="2201"/>
                  </a:lnTo>
                  <a:lnTo>
                    <a:pt x="1282" y="2269"/>
                  </a:lnTo>
                  <a:lnTo>
                    <a:pt x="1151" y="2335"/>
                  </a:lnTo>
                  <a:lnTo>
                    <a:pt x="1021" y="2401"/>
                  </a:lnTo>
                  <a:lnTo>
                    <a:pt x="892" y="2464"/>
                  </a:lnTo>
                  <a:lnTo>
                    <a:pt x="763" y="2526"/>
                  </a:lnTo>
                  <a:lnTo>
                    <a:pt x="635" y="2587"/>
                  </a:lnTo>
                  <a:lnTo>
                    <a:pt x="506" y="2646"/>
                  </a:lnTo>
                  <a:lnTo>
                    <a:pt x="379" y="2704"/>
                  </a:lnTo>
                  <a:lnTo>
                    <a:pt x="252" y="2759"/>
                  </a:lnTo>
                  <a:lnTo>
                    <a:pt x="126" y="2814"/>
                  </a:lnTo>
                  <a:lnTo>
                    <a:pt x="0" y="2867"/>
                  </a:lnTo>
                  <a:lnTo>
                    <a:pt x="2354" y="2867"/>
                  </a:lnTo>
                  <a:lnTo>
                    <a:pt x="2354" y="2867"/>
                  </a:lnTo>
                  <a:lnTo>
                    <a:pt x="2538" y="2760"/>
                  </a:lnTo>
                  <a:lnTo>
                    <a:pt x="2630" y="2706"/>
                  </a:lnTo>
                  <a:lnTo>
                    <a:pt x="2723" y="2652"/>
                  </a:lnTo>
                  <a:lnTo>
                    <a:pt x="2723" y="2652"/>
                  </a:lnTo>
                  <a:lnTo>
                    <a:pt x="2858" y="2569"/>
                  </a:lnTo>
                  <a:lnTo>
                    <a:pt x="2992" y="2485"/>
                  </a:lnTo>
                  <a:lnTo>
                    <a:pt x="3124" y="2401"/>
                  </a:lnTo>
                  <a:lnTo>
                    <a:pt x="3252" y="2315"/>
                  </a:lnTo>
                  <a:lnTo>
                    <a:pt x="3378" y="2229"/>
                  </a:lnTo>
                  <a:lnTo>
                    <a:pt x="3503" y="2141"/>
                  </a:lnTo>
                  <a:lnTo>
                    <a:pt x="3624" y="2051"/>
                  </a:lnTo>
                  <a:lnTo>
                    <a:pt x="3743" y="1962"/>
                  </a:lnTo>
                  <a:lnTo>
                    <a:pt x="3859" y="1871"/>
                  </a:lnTo>
                  <a:lnTo>
                    <a:pt x="3972" y="1780"/>
                  </a:lnTo>
                  <a:lnTo>
                    <a:pt x="4084" y="1687"/>
                  </a:lnTo>
                  <a:lnTo>
                    <a:pt x="4192" y="1594"/>
                  </a:lnTo>
                  <a:lnTo>
                    <a:pt x="4297" y="1500"/>
                  </a:lnTo>
                  <a:lnTo>
                    <a:pt x="4399" y="1407"/>
                  </a:lnTo>
                  <a:lnTo>
                    <a:pt x="4499" y="1311"/>
                  </a:lnTo>
                  <a:lnTo>
                    <a:pt x="4596" y="1216"/>
                  </a:lnTo>
                  <a:lnTo>
                    <a:pt x="4596" y="0"/>
                  </a:lnTo>
                  <a:close/>
                </a:path>
              </a:pathLst>
            </a:custGeom>
            <a:solidFill>
              <a:srgbClr val="00C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en-GB" dirty="0">
                <a:solidFill>
                  <a:prstClr val="black"/>
                </a:solidFill>
                <a:latin typeface="Helvetica Neue Thin"/>
                <a:cs typeface="Arial"/>
                <a:sym typeface="Arial"/>
              </a:endParaRPr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8458200" y="4114800"/>
              <a:ext cx="3733800" cy="2743200"/>
            </a:xfrm>
            <a:custGeom>
              <a:avLst/>
              <a:gdLst>
                <a:gd name="T0" fmla="*/ 773 w 2352"/>
                <a:gd name="T1" fmla="*/ 1728 h 1728"/>
                <a:gd name="T2" fmla="*/ 773 w 2352"/>
                <a:gd name="T3" fmla="*/ 1728 h 1728"/>
                <a:gd name="T4" fmla="*/ 887 w 2352"/>
                <a:gd name="T5" fmla="*/ 1652 h 1728"/>
                <a:gd name="T6" fmla="*/ 998 w 2352"/>
                <a:gd name="T7" fmla="*/ 1576 h 1728"/>
                <a:gd name="T8" fmla="*/ 1109 w 2352"/>
                <a:gd name="T9" fmla="*/ 1499 h 1728"/>
                <a:gd name="T10" fmla="*/ 1217 w 2352"/>
                <a:gd name="T11" fmla="*/ 1421 h 1728"/>
                <a:gd name="T12" fmla="*/ 1322 w 2352"/>
                <a:gd name="T13" fmla="*/ 1343 h 1728"/>
                <a:gd name="T14" fmla="*/ 1427 w 2352"/>
                <a:gd name="T15" fmla="*/ 1265 h 1728"/>
                <a:gd name="T16" fmla="*/ 1529 w 2352"/>
                <a:gd name="T17" fmla="*/ 1186 h 1728"/>
                <a:gd name="T18" fmla="*/ 1628 w 2352"/>
                <a:gd name="T19" fmla="*/ 1106 h 1728"/>
                <a:gd name="T20" fmla="*/ 1726 w 2352"/>
                <a:gd name="T21" fmla="*/ 1027 h 1728"/>
                <a:gd name="T22" fmla="*/ 1822 w 2352"/>
                <a:gd name="T23" fmla="*/ 947 h 1728"/>
                <a:gd name="T24" fmla="*/ 1915 w 2352"/>
                <a:gd name="T25" fmla="*/ 866 h 1728"/>
                <a:gd name="T26" fmla="*/ 2008 w 2352"/>
                <a:gd name="T27" fmla="*/ 786 h 1728"/>
                <a:gd name="T28" fmla="*/ 2096 w 2352"/>
                <a:gd name="T29" fmla="*/ 704 h 1728"/>
                <a:gd name="T30" fmla="*/ 2184 w 2352"/>
                <a:gd name="T31" fmla="*/ 624 h 1728"/>
                <a:gd name="T32" fmla="*/ 2269 w 2352"/>
                <a:gd name="T33" fmla="*/ 542 h 1728"/>
                <a:gd name="T34" fmla="*/ 2352 w 2352"/>
                <a:gd name="T35" fmla="*/ 461 h 1728"/>
                <a:gd name="T36" fmla="*/ 2352 w 2352"/>
                <a:gd name="T37" fmla="*/ 0 h 1728"/>
                <a:gd name="T38" fmla="*/ 2352 w 2352"/>
                <a:gd name="T39" fmla="*/ 0 h 1728"/>
                <a:gd name="T40" fmla="*/ 2254 w 2352"/>
                <a:gd name="T41" fmla="*/ 97 h 1728"/>
                <a:gd name="T42" fmla="*/ 2153 w 2352"/>
                <a:gd name="T43" fmla="*/ 194 h 1728"/>
                <a:gd name="T44" fmla="*/ 2050 w 2352"/>
                <a:gd name="T45" fmla="*/ 290 h 1728"/>
                <a:gd name="T46" fmla="*/ 1943 w 2352"/>
                <a:gd name="T47" fmla="*/ 386 h 1728"/>
                <a:gd name="T48" fmla="*/ 1834 w 2352"/>
                <a:gd name="T49" fmla="*/ 481 h 1728"/>
                <a:gd name="T50" fmla="*/ 1721 w 2352"/>
                <a:gd name="T51" fmla="*/ 576 h 1728"/>
                <a:gd name="T52" fmla="*/ 1606 w 2352"/>
                <a:gd name="T53" fmla="*/ 670 h 1728"/>
                <a:gd name="T54" fmla="*/ 1488 w 2352"/>
                <a:gd name="T55" fmla="*/ 762 h 1728"/>
                <a:gd name="T56" fmla="*/ 1368 w 2352"/>
                <a:gd name="T57" fmla="*/ 853 h 1728"/>
                <a:gd name="T58" fmla="*/ 1244 w 2352"/>
                <a:gd name="T59" fmla="*/ 944 h 1728"/>
                <a:gd name="T60" fmla="*/ 1118 w 2352"/>
                <a:gd name="T61" fmla="*/ 1034 h 1728"/>
                <a:gd name="T62" fmla="*/ 990 w 2352"/>
                <a:gd name="T63" fmla="*/ 1123 h 1728"/>
                <a:gd name="T64" fmla="*/ 859 w 2352"/>
                <a:gd name="T65" fmla="*/ 1211 h 1728"/>
                <a:gd name="T66" fmla="*/ 725 w 2352"/>
                <a:gd name="T67" fmla="*/ 1297 h 1728"/>
                <a:gd name="T68" fmla="*/ 589 w 2352"/>
                <a:gd name="T69" fmla="*/ 1382 h 1728"/>
                <a:gd name="T70" fmla="*/ 451 w 2352"/>
                <a:gd name="T71" fmla="*/ 1466 h 1728"/>
                <a:gd name="T72" fmla="*/ 451 w 2352"/>
                <a:gd name="T73" fmla="*/ 1466 h 1728"/>
                <a:gd name="T74" fmla="*/ 337 w 2352"/>
                <a:gd name="T75" fmla="*/ 1532 h 1728"/>
                <a:gd name="T76" fmla="*/ 224 w 2352"/>
                <a:gd name="T77" fmla="*/ 1598 h 1728"/>
                <a:gd name="T78" fmla="*/ 0 w 2352"/>
                <a:gd name="T79" fmla="*/ 1728 h 1728"/>
                <a:gd name="T80" fmla="*/ 773 w 2352"/>
                <a:gd name="T81" fmla="*/ 1728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352" h="1728">
                  <a:moveTo>
                    <a:pt x="773" y="1728"/>
                  </a:moveTo>
                  <a:lnTo>
                    <a:pt x="773" y="1728"/>
                  </a:lnTo>
                  <a:lnTo>
                    <a:pt x="887" y="1652"/>
                  </a:lnTo>
                  <a:lnTo>
                    <a:pt x="998" y="1576"/>
                  </a:lnTo>
                  <a:lnTo>
                    <a:pt x="1109" y="1499"/>
                  </a:lnTo>
                  <a:lnTo>
                    <a:pt x="1217" y="1421"/>
                  </a:lnTo>
                  <a:lnTo>
                    <a:pt x="1322" y="1343"/>
                  </a:lnTo>
                  <a:lnTo>
                    <a:pt x="1427" y="1265"/>
                  </a:lnTo>
                  <a:lnTo>
                    <a:pt x="1529" y="1186"/>
                  </a:lnTo>
                  <a:lnTo>
                    <a:pt x="1628" y="1106"/>
                  </a:lnTo>
                  <a:lnTo>
                    <a:pt x="1726" y="1027"/>
                  </a:lnTo>
                  <a:lnTo>
                    <a:pt x="1822" y="947"/>
                  </a:lnTo>
                  <a:lnTo>
                    <a:pt x="1915" y="866"/>
                  </a:lnTo>
                  <a:lnTo>
                    <a:pt x="2008" y="786"/>
                  </a:lnTo>
                  <a:lnTo>
                    <a:pt x="2096" y="704"/>
                  </a:lnTo>
                  <a:lnTo>
                    <a:pt x="2184" y="624"/>
                  </a:lnTo>
                  <a:lnTo>
                    <a:pt x="2269" y="542"/>
                  </a:lnTo>
                  <a:lnTo>
                    <a:pt x="2352" y="461"/>
                  </a:lnTo>
                  <a:lnTo>
                    <a:pt x="2352" y="0"/>
                  </a:lnTo>
                  <a:lnTo>
                    <a:pt x="2352" y="0"/>
                  </a:lnTo>
                  <a:lnTo>
                    <a:pt x="2254" y="97"/>
                  </a:lnTo>
                  <a:lnTo>
                    <a:pt x="2153" y="194"/>
                  </a:lnTo>
                  <a:lnTo>
                    <a:pt x="2050" y="290"/>
                  </a:lnTo>
                  <a:lnTo>
                    <a:pt x="1943" y="386"/>
                  </a:lnTo>
                  <a:lnTo>
                    <a:pt x="1834" y="481"/>
                  </a:lnTo>
                  <a:lnTo>
                    <a:pt x="1721" y="576"/>
                  </a:lnTo>
                  <a:lnTo>
                    <a:pt x="1606" y="670"/>
                  </a:lnTo>
                  <a:lnTo>
                    <a:pt x="1488" y="762"/>
                  </a:lnTo>
                  <a:lnTo>
                    <a:pt x="1368" y="853"/>
                  </a:lnTo>
                  <a:lnTo>
                    <a:pt x="1244" y="944"/>
                  </a:lnTo>
                  <a:lnTo>
                    <a:pt x="1118" y="1034"/>
                  </a:lnTo>
                  <a:lnTo>
                    <a:pt x="990" y="1123"/>
                  </a:lnTo>
                  <a:lnTo>
                    <a:pt x="859" y="1211"/>
                  </a:lnTo>
                  <a:lnTo>
                    <a:pt x="725" y="1297"/>
                  </a:lnTo>
                  <a:lnTo>
                    <a:pt x="589" y="1382"/>
                  </a:lnTo>
                  <a:lnTo>
                    <a:pt x="451" y="1466"/>
                  </a:lnTo>
                  <a:lnTo>
                    <a:pt x="451" y="1466"/>
                  </a:lnTo>
                  <a:lnTo>
                    <a:pt x="337" y="1532"/>
                  </a:lnTo>
                  <a:lnTo>
                    <a:pt x="224" y="1598"/>
                  </a:lnTo>
                  <a:lnTo>
                    <a:pt x="0" y="1728"/>
                  </a:lnTo>
                  <a:lnTo>
                    <a:pt x="773" y="1728"/>
                  </a:lnTo>
                  <a:close/>
                </a:path>
              </a:pathLst>
            </a:custGeom>
            <a:solidFill>
              <a:srgbClr val="009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en-GB" dirty="0">
                <a:solidFill>
                  <a:prstClr val="black"/>
                </a:solidFill>
                <a:latin typeface="Helvetica Neue Thin"/>
                <a:cs typeface="Arial"/>
                <a:sym typeface="Arial"/>
              </a:endParaRPr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0" y="0"/>
              <a:ext cx="12192000" cy="6858000"/>
            </a:xfrm>
            <a:custGeom>
              <a:avLst/>
              <a:gdLst>
                <a:gd name="T0" fmla="*/ 5286 w 7680"/>
                <a:gd name="T1" fmla="*/ 0 h 4320"/>
                <a:gd name="T2" fmla="*/ 5170 w 7680"/>
                <a:gd name="T3" fmla="*/ 78 h 4320"/>
                <a:gd name="T4" fmla="*/ 4931 w 7680"/>
                <a:gd name="T5" fmla="*/ 232 h 4320"/>
                <a:gd name="T6" fmla="*/ 4684 w 7680"/>
                <a:gd name="T7" fmla="*/ 385 h 4320"/>
                <a:gd name="T8" fmla="*/ 4428 w 7680"/>
                <a:gd name="T9" fmla="*/ 536 h 4320"/>
                <a:gd name="T10" fmla="*/ 4165 w 7680"/>
                <a:gd name="T11" fmla="*/ 684 h 4320"/>
                <a:gd name="T12" fmla="*/ 3895 w 7680"/>
                <a:gd name="T13" fmla="*/ 830 h 4320"/>
                <a:gd name="T14" fmla="*/ 3619 w 7680"/>
                <a:gd name="T15" fmla="*/ 972 h 4320"/>
                <a:gd name="T16" fmla="*/ 3338 w 7680"/>
                <a:gd name="T17" fmla="*/ 1110 h 4320"/>
                <a:gd name="T18" fmla="*/ 3196 w 7680"/>
                <a:gd name="T19" fmla="*/ 1178 h 4320"/>
                <a:gd name="T20" fmla="*/ 2759 w 7680"/>
                <a:gd name="T21" fmla="*/ 1378 h 4320"/>
                <a:gd name="T22" fmla="*/ 2329 w 7680"/>
                <a:gd name="T23" fmla="*/ 1562 h 4320"/>
                <a:gd name="T24" fmla="*/ 1909 w 7680"/>
                <a:gd name="T25" fmla="*/ 1732 h 4320"/>
                <a:gd name="T26" fmla="*/ 1501 w 7680"/>
                <a:gd name="T27" fmla="*/ 1885 h 4320"/>
                <a:gd name="T28" fmla="*/ 1104 w 7680"/>
                <a:gd name="T29" fmla="*/ 2022 h 4320"/>
                <a:gd name="T30" fmla="*/ 911 w 7680"/>
                <a:gd name="T31" fmla="*/ 2084 h 4320"/>
                <a:gd name="T32" fmla="*/ 721 w 7680"/>
                <a:gd name="T33" fmla="*/ 2142 h 4320"/>
                <a:gd name="T34" fmla="*/ 534 w 7680"/>
                <a:gd name="T35" fmla="*/ 2196 h 4320"/>
                <a:gd name="T36" fmla="*/ 353 w 7680"/>
                <a:gd name="T37" fmla="*/ 2246 h 4320"/>
                <a:gd name="T38" fmla="*/ 174 w 7680"/>
                <a:gd name="T39" fmla="*/ 2291 h 4320"/>
                <a:gd name="T40" fmla="*/ 0 w 7680"/>
                <a:gd name="T41" fmla="*/ 2332 h 4320"/>
                <a:gd name="T42" fmla="*/ 3224 w 7680"/>
                <a:gd name="T43" fmla="*/ 4320 h 4320"/>
                <a:gd name="T44" fmla="*/ 3344 w 7680"/>
                <a:gd name="T45" fmla="*/ 4268 h 4320"/>
                <a:gd name="T46" fmla="*/ 3584 w 7680"/>
                <a:gd name="T47" fmla="*/ 4163 h 4320"/>
                <a:gd name="T48" fmla="*/ 3826 w 7680"/>
                <a:gd name="T49" fmla="*/ 4050 h 4320"/>
                <a:gd name="T50" fmla="*/ 4069 w 7680"/>
                <a:gd name="T51" fmla="*/ 3934 h 4320"/>
                <a:gd name="T52" fmla="*/ 4314 w 7680"/>
                <a:gd name="T53" fmla="*/ 3811 h 4320"/>
                <a:gd name="T54" fmla="*/ 4560 w 7680"/>
                <a:gd name="T55" fmla="*/ 3683 h 4320"/>
                <a:gd name="T56" fmla="*/ 4807 w 7680"/>
                <a:gd name="T57" fmla="*/ 3550 h 4320"/>
                <a:gd name="T58" fmla="*/ 5054 w 7680"/>
                <a:gd name="T59" fmla="*/ 3413 h 4320"/>
                <a:gd name="T60" fmla="*/ 5179 w 7680"/>
                <a:gd name="T61" fmla="*/ 3342 h 4320"/>
                <a:gd name="T62" fmla="*/ 5560 w 7680"/>
                <a:gd name="T63" fmla="*/ 3118 h 4320"/>
                <a:gd name="T64" fmla="*/ 5921 w 7680"/>
                <a:gd name="T65" fmla="*/ 2892 h 4320"/>
                <a:gd name="T66" fmla="*/ 6263 w 7680"/>
                <a:gd name="T67" fmla="*/ 2665 h 4320"/>
                <a:gd name="T68" fmla="*/ 6506 w 7680"/>
                <a:gd name="T69" fmla="*/ 2495 h 4320"/>
                <a:gd name="T70" fmla="*/ 6662 w 7680"/>
                <a:gd name="T71" fmla="*/ 2381 h 4320"/>
                <a:gd name="T72" fmla="*/ 6815 w 7680"/>
                <a:gd name="T73" fmla="*/ 2267 h 4320"/>
                <a:gd name="T74" fmla="*/ 6961 w 7680"/>
                <a:gd name="T75" fmla="*/ 2153 h 4320"/>
                <a:gd name="T76" fmla="*/ 7103 w 7680"/>
                <a:gd name="T77" fmla="*/ 2040 h 4320"/>
                <a:gd name="T78" fmla="*/ 7240 w 7680"/>
                <a:gd name="T79" fmla="*/ 1926 h 4320"/>
                <a:gd name="T80" fmla="*/ 7372 w 7680"/>
                <a:gd name="T81" fmla="*/ 1812 h 4320"/>
                <a:gd name="T82" fmla="*/ 7499 w 7680"/>
                <a:gd name="T83" fmla="*/ 1698 h 4320"/>
                <a:gd name="T84" fmla="*/ 7621 w 7680"/>
                <a:gd name="T85" fmla="*/ 1584 h 4320"/>
                <a:gd name="T86" fmla="*/ 7680 w 7680"/>
                <a:gd name="T87" fmla="*/ 0 h 4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680" h="4320">
                  <a:moveTo>
                    <a:pt x="7680" y="0"/>
                  </a:moveTo>
                  <a:lnTo>
                    <a:pt x="5286" y="0"/>
                  </a:lnTo>
                  <a:lnTo>
                    <a:pt x="5286" y="0"/>
                  </a:lnTo>
                  <a:lnTo>
                    <a:pt x="5170" y="78"/>
                  </a:lnTo>
                  <a:lnTo>
                    <a:pt x="5051" y="155"/>
                  </a:lnTo>
                  <a:lnTo>
                    <a:pt x="4931" y="232"/>
                  </a:lnTo>
                  <a:lnTo>
                    <a:pt x="4808" y="308"/>
                  </a:lnTo>
                  <a:lnTo>
                    <a:pt x="4684" y="385"/>
                  </a:lnTo>
                  <a:lnTo>
                    <a:pt x="4556" y="461"/>
                  </a:lnTo>
                  <a:lnTo>
                    <a:pt x="4428" y="536"/>
                  </a:lnTo>
                  <a:lnTo>
                    <a:pt x="4297" y="611"/>
                  </a:lnTo>
                  <a:lnTo>
                    <a:pt x="4165" y="684"/>
                  </a:lnTo>
                  <a:lnTo>
                    <a:pt x="4031" y="757"/>
                  </a:lnTo>
                  <a:lnTo>
                    <a:pt x="3895" y="830"/>
                  </a:lnTo>
                  <a:lnTo>
                    <a:pt x="3758" y="901"/>
                  </a:lnTo>
                  <a:lnTo>
                    <a:pt x="3619" y="972"/>
                  </a:lnTo>
                  <a:lnTo>
                    <a:pt x="3480" y="1042"/>
                  </a:lnTo>
                  <a:lnTo>
                    <a:pt x="3338" y="1110"/>
                  </a:lnTo>
                  <a:lnTo>
                    <a:pt x="3196" y="1178"/>
                  </a:lnTo>
                  <a:lnTo>
                    <a:pt x="3196" y="1178"/>
                  </a:lnTo>
                  <a:lnTo>
                    <a:pt x="2976" y="1279"/>
                  </a:lnTo>
                  <a:lnTo>
                    <a:pt x="2759" y="1378"/>
                  </a:lnTo>
                  <a:lnTo>
                    <a:pt x="2543" y="1472"/>
                  </a:lnTo>
                  <a:lnTo>
                    <a:pt x="2329" y="1562"/>
                  </a:lnTo>
                  <a:lnTo>
                    <a:pt x="2118" y="1649"/>
                  </a:lnTo>
                  <a:lnTo>
                    <a:pt x="1909" y="1732"/>
                  </a:lnTo>
                  <a:lnTo>
                    <a:pt x="1704" y="1810"/>
                  </a:lnTo>
                  <a:lnTo>
                    <a:pt x="1501" y="1885"/>
                  </a:lnTo>
                  <a:lnTo>
                    <a:pt x="1301" y="1955"/>
                  </a:lnTo>
                  <a:lnTo>
                    <a:pt x="1104" y="2022"/>
                  </a:lnTo>
                  <a:lnTo>
                    <a:pt x="1007" y="2053"/>
                  </a:lnTo>
                  <a:lnTo>
                    <a:pt x="911" y="2084"/>
                  </a:lnTo>
                  <a:lnTo>
                    <a:pt x="815" y="2114"/>
                  </a:lnTo>
                  <a:lnTo>
                    <a:pt x="721" y="2142"/>
                  </a:lnTo>
                  <a:lnTo>
                    <a:pt x="628" y="2170"/>
                  </a:lnTo>
                  <a:lnTo>
                    <a:pt x="534" y="2196"/>
                  </a:lnTo>
                  <a:lnTo>
                    <a:pt x="443" y="2221"/>
                  </a:lnTo>
                  <a:lnTo>
                    <a:pt x="353" y="2246"/>
                  </a:lnTo>
                  <a:lnTo>
                    <a:pt x="263" y="2269"/>
                  </a:lnTo>
                  <a:lnTo>
                    <a:pt x="174" y="2291"/>
                  </a:lnTo>
                  <a:lnTo>
                    <a:pt x="86" y="2312"/>
                  </a:lnTo>
                  <a:lnTo>
                    <a:pt x="0" y="2332"/>
                  </a:lnTo>
                  <a:lnTo>
                    <a:pt x="0" y="4320"/>
                  </a:lnTo>
                  <a:lnTo>
                    <a:pt x="3224" y="4320"/>
                  </a:lnTo>
                  <a:lnTo>
                    <a:pt x="3224" y="4320"/>
                  </a:lnTo>
                  <a:lnTo>
                    <a:pt x="3344" y="4268"/>
                  </a:lnTo>
                  <a:lnTo>
                    <a:pt x="3463" y="4217"/>
                  </a:lnTo>
                  <a:lnTo>
                    <a:pt x="3584" y="4163"/>
                  </a:lnTo>
                  <a:lnTo>
                    <a:pt x="3704" y="4108"/>
                  </a:lnTo>
                  <a:lnTo>
                    <a:pt x="3826" y="4050"/>
                  </a:lnTo>
                  <a:lnTo>
                    <a:pt x="3948" y="3992"/>
                  </a:lnTo>
                  <a:lnTo>
                    <a:pt x="4069" y="3934"/>
                  </a:lnTo>
                  <a:lnTo>
                    <a:pt x="4192" y="3872"/>
                  </a:lnTo>
                  <a:lnTo>
                    <a:pt x="4314" y="3811"/>
                  </a:lnTo>
                  <a:lnTo>
                    <a:pt x="4436" y="3748"/>
                  </a:lnTo>
                  <a:lnTo>
                    <a:pt x="4560" y="3683"/>
                  </a:lnTo>
                  <a:lnTo>
                    <a:pt x="4684" y="3617"/>
                  </a:lnTo>
                  <a:lnTo>
                    <a:pt x="4807" y="3550"/>
                  </a:lnTo>
                  <a:lnTo>
                    <a:pt x="4931" y="3481"/>
                  </a:lnTo>
                  <a:lnTo>
                    <a:pt x="5054" y="3413"/>
                  </a:lnTo>
                  <a:lnTo>
                    <a:pt x="5179" y="3342"/>
                  </a:lnTo>
                  <a:lnTo>
                    <a:pt x="5179" y="3342"/>
                  </a:lnTo>
                  <a:lnTo>
                    <a:pt x="5371" y="3229"/>
                  </a:lnTo>
                  <a:lnTo>
                    <a:pt x="5560" y="3118"/>
                  </a:lnTo>
                  <a:lnTo>
                    <a:pt x="5742" y="3005"/>
                  </a:lnTo>
                  <a:lnTo>
                    <a:pt x="5921" y="2892"/>
                  </a:lnTo>
                  <a:lnTo>
                    <a:pt x="6094" y="2778"/>
                  </a:lnTo>
                  <a:lnTo>
                    <a:pt x="6263" y="2665"/>
                  </a:lnTo>
                  <a:lnTo>
                    <a:pt x="6426" y="2551"/>
                  </a:lnTo>
                  <a:lnTo>
                    <a:pt x="6506" y="2495"/>
                  </a:lnTo>
                  <a:lnTo>
                    <a:pt x="6586" y="2437"/>
                  </a:lnTo>
                  <a:lnTo>
                    <a:pt x="6662" y="2381"/>
                  </a:lnTo>
                  <a:lnTo>
                    <a:pt x="6739" y="2324"/>
                  </a:lnTo>
                  <a:lnTo>
                    <a:pt x="6815" y="2267"/>
                  </a:lnTo>
                  <a:lnTo>
                    <a:pt x="6888" y="2210"/>
                  </a:lnTo>
                  <a:lnTo>
                    <a:pt x="6961" y="2153"/>
                  </a:lnTo>
                  <a:lnTo>
                    <a:pt x="7033" y="2096"/>
                  </a:lnTo>
                  <a:lnTo>
                    <a:pt x="7103" y="2040"/>
                  </a:lnTo>
                  <a:lnTo>
                    <a:pt x="7172" y="1982"/>
                  </a:lnTo>
                  <a:lnTo>
                    <a:pt x="7240" y="1926"/>
                  </a:lnTo>
                  <a:lnTo>
                    <a:pt x="7307" y="1868"/>
                  </a:lnTo>
                  <a:lnTo>
                    <a:pt x="7372" y="1812"/>
                  </a:lnTo>
                  <a:lnTo>
                    <a:pt x="7436" y="1754"/>
                  </a:lnTo>
                  <a:lnTo>
                    <a:pt x="7499" y="1698"/>
                  </a:lnTo>
                  <a:lnTo>
                    <a:pt x="7560" y="1642"/>
                  </a:lnTo>
                  <a:lnTo>
                    <a:pt x="7621" y="1584"/>
                  </a:lnTo>
                  <a:lnTo>
                    <a:pt x="7680" y="1528"/>
                  </a:lnTo>
                  <a:lnTo>
                    <a:pt x="7680" y="0"/>
                  </a:lnTo>
                  <a:close/>
                </a:path>
              </a:pathLst>
            </a:custGeom>
            <a:solidFill>
              <a:srgbClr val="990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en-GB" dirty="0">
                <a:solidFill>
                  <a:prstClr val="black"/>
                </a:solidFill>
                <a:latin typeface="Helvetica Neue Thin"/>
                <a:cs typeface="Arial"/>
                <a:sym typeface="Arial"/>
              </a:endParaRPr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526588" y="4725988"/>
              <a:ext cx="2665413" cy="2132013"/>
            </a:xfrm>
            <a:custGeom>
              <a:avLst/>
              <a:gdLst>
                <a:gd name="T0" fmla="*/ 1679 w 1679"/>
                <a:gd name="T1" fmla="*/ 1343 h 1343"/>
                <a:gd name="T2" fmla="*/ 1679 w 1679"/>
                <a:gd name="T3" fmla="*/ 0 h 1343"/>
                <a:gd name="T4" fmla="*/ 1679 w 1679"/>
                <a:gd name="T5" fmla="*/ 0 h 1343"/>
                <a:gd name="T6" fmla="*/ 1593 w 1679"/>
                <a:gd name="T7" fmla="*/ 85 h 1343"/>
                <a:gd name="T8" fmla="*/ 1503 w 1679"/>
                <a:gd name="T9" fmla="*/ 172 h 1343"/>
                <a:gd name="T10" fmla="*/ 1411 w 1679"/>
                <a:gd name="T11" fmla="*/ 258 h 1343"/>
                <a:gd name="T12" fmla="*/ 1317 w 1679"/>
                <a:gd name="T13" fmla="*/ 343 h 1343"/>
                <a:gd name="T14" fmla="*/ 1221 w 1679"/>
                <a:gd name="T15" fmla="*/ 429 h 1343"/>
                <a:gd name="T16" fmla="*/ 1121 w 1679"/>
                <a:gd name="T17" fmla="*/ 514 h 1343"/>
                <a:gd name="T18" fmla="*/ 1020 w 1679"/>
                <a:gd name="T19" fmla="*/ 598 h 1343"/>
                <a:gd name="T20" fmla="*/ 916 w 1679"/>
                <a:gd name="T21" fmla="*/ 683 h 1343"/>
                <a:gd name="T22" fmla="*/ 810 w 1679"/>
                <a:gd name="T23" fmla="*/ 766 h 1343"/>
                <a:gd name="T24" fmla="*/ 701 w 1679"/>
                <a:gd name="T25" fmla="*/ 850 h 1343"/>
                <a:gd name="T26" fmla="*/ 591 w 1679"/>
                <a:gd name="T27" fmla="*/ 933 h 1343"/>
                <a:gd name="T28" fmla="*/ 478 w 1679"/>
                <a:gd name="T29" fmla="*/ 1015 h 1343"/>
                <a:gd name="T30" fmla="*/ 363 w 1679"/>
                <a:gd name="T31" fmla="*/ 1097 h 1343"/>
                <a:gd name="T32" fmla="*/ 245 w 1679"/>
                <a:gd name="T33" fmla="*/ 1180 h 1343"/>
                <a:gd name="T34" fmla="*/ 125 w 1679"/>
                <a:gd name="T35" fmla="*/ 1260 h 1343"/>
                <a:gd name="T36" fmla="*/ 3 w 1679"/>
                <a:gd name="T37" fmla="*/ 1341 h 1343"/>
                <a:gd name="T38" fmla="*/ 3 w 1679"/>
                <a:gd name="T39" fmla="*/ 1341 h 1343"/>
                <a:gd name="T40" fmla="*/ 1 w 1679"/>
                <a:gd name="T41" fmla="*/ 1342 h 1343"/>
                <a:gd name="T42" fmla="*/ 0 w 1679"/>
                <a:gd name="T43" fmla="*/ 1343 h 1343"/>
                <a:gd name="T44" fmla="*/ 1679 w 1679"/>
                <a:gd name="T45" fmla="*/ 1343 h 1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79" h="1343">
                  <a:moveTo>
                    <a:pt x="1679" y="1343"/>
                  </a:moveTo>
                  <a:lnTo>
                    <a:pt x="1679" y="0"/>
                  </a:lnTo>
                  <a:lnTo>
                    <a:pt x="1679" y="0"/>
                  </a:lnTo>
                  <a:lnTo>
                    <a:pt x="1593" y="85"/>
                  </a:lnTo>
                  <a:lnTo>
                    <a:pt x="1503" y="172"/>
                  </a:lnTo>
                  <a:lnTo>
                    <a:pt x="1411" y="258"/>
                  </a:lnTo>
                  <a:lnTo>
                    <a:pt x="1317" y="343"/>
                  </a:lnTo>
                  <a:lnTo>
                    <a:pt x="1221" y="429"/>
                  </a:lnTo>
                  <a:lnTo>
                    <a:pt x="1121" y="514"/>
                  </a:lnTo>
                  <a:lnTo>
                    <a:pt x="1020" y="598"/>
                  </a:lnTo>
                  <a:lnTo>
                    <a:pt x="916" y="683"/>
                  </a:lnTo>
                  <a:lnTo>
                    <a:pt x="810" y="766"/>
                  </a:lnTo>
                  <a:lnTo>
                    <a:pt x="701" y="850"/>
                  </a:lnTo>
                  <a:lnTo>
                    <a:pt x="591" y="933"/>
                  </a:lnTo>
                  <a:lnTo>
                    <a:pt x="478" y="1015"/>
                  </a:lnTo>
                  <a:lnTo>
                    <a:pt x="363" y="1097"/>
                  </a:lnTo>
                  <a:lnTo>
                    <a:pt x="245" y="1180"/>
                  </a:lnTo>
                  <a:lnTo>
                    <a:pt x="125" y="1260"/>
                  </a:lnTo>
                  <a:lnTo>
                    <a:pt x="3" y="1341"/>
                  </a:lnTo>
                  <a:lnTo>
                    <a:pt x="3" y="1341"/>
                  </a:lnTo>
                  <a:lnTo>
                    <a:pt x="1" y="1342"/>
                  </a:lnTo>
                  <a:lnTo>
                    <a:pt x="0" y="1343"/>
                  </a:lnTo>
                  <a:lnTo>
                    <a:pt x="1679" y="1343"/>
                  </a:lnTo>
                  <a:close/>
                </a:path>
              </a:pathLst>
            </a:custGeom>
            <a:solidFill>
              <a:srgbClr val="00C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en-GB" dirty="0">
                <a:solidFill>
                  <a:prstClr val="black"/>
                </a:solidFill>
                <a:latin typeface="Helvetica Neue Thin"/>
                <a:cs typeface="Arial"/>
                <a:sym typeface="Arial"/>
              </a:endParaRPr>
            </a:p>
          </p:txBody>
        </p:sp>
      </p:grp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358776" y="358776"/>
            <a:ext cx="8602663" cy="4367213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38" y="6172200"/>
            <a:ext cx="12191762" cy="6858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GB" dirty="0">
              <a:solidFill>
                <a:prstClr val="white"/>
              </a:solidFill>
              <a:latin typeface="Helvetica Neue Thin"/>
              <a:sym typeface="Arial"/>
            </a:endParaRPr>
          </a:p>
        </p:txBody>
      </p:sp>
      <p:sp>
        <p:nvSpPr>
          <p:cNvPr id="20" name="Date Placeholder 10"/>
          <p:cNvSpPr>
            <a:spLocks noGrp="1"/>
          </p:cNvSpPr>
          <p:nvPr>
            <p:ph type="dt" sz="half" idx="10"/>
          </p:nvPr>
        </p:nvSpPr>
        <p:spPr>
          <a:xfrm>
            <a:off x="978098" y="6438156"/>
            <a:ext cx="828000" cy="153888"/>
          </a:xfrm>
        </p:spPr>
        <p:txBody>
          <a:bodyPr/>
          <a:lstStyle>
            <a:lvl1pPr>
              <a:defRPr/>
            </a:lvl1pPr>
          </a:lstStyle>
          <a:p>
            <a:fld id="{800C43A4-2EBF-4E8E-891F-5ABB0C59DC74}" type="datetime1">
              <a:rPr lang="en-GB" smtClean="0">
                <a:solidFill>
                  <a:prstClr val="black"/>
                </a:solidFill>
              </a:rPr>
              <a:pPr/>
              <a:t>10/12/2017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1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1806099" y="6438156"/>
            <a:ext cx="9255406" cy="15388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prstClr val="black"/>
                </a:solidFill>
              </a:rPr>
              <a:t>PRESENTATION FOOTER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11061505" y="6438156"/>
            <a:ext cx="768545" cy="153888"/>
          </a:xfrm>
        </p:spPr>
        <p:txBody>
          <a:bodyPr/>
          <a:lstStyle>
            <a:lvl1pPr>
              <a:defRPr/>
            </a:lvl1pPr>
          </a:lstStyle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6335485"/>
            <a:ext cx="345567" cy="361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72493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E66FA71-B8F9-4EC7-8F7D-436D78F2E717}" type="datetime1">
              <a:rPr lang="en-GB" smtClean="0">
                <a:solidFill>
                  <a:prstClr val="black"/>
                </a:solidFill>
              </a:rPr>
              <a:pPr/>
              <a:t>10/12/2017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prstClr val="black"/>
                </a:solidFill>
              </a:rPr>
              <a:t>PRESENTATION FOOTER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58776" y="1616075"/>
            <a:ext cx="5737225" cy="457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6096001" y="1616075"/>
            <a:ext cx="5737225" cy="457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859034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684452" y="3093353"/>
            <a:ext cx="727096" cy="6712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0000" tIns="180000" rIns="360000" bIns="180000" rtlCol="0" anchor="ctr">
            <a:spAutoFit/>
          </a:bodyPr>
          <a:lstStyle/>
          <a:p>
            <a:pPr algn="ctr" defTabSz="914378"/>
            <a:endParaRPr lang="en-GB" sz="2000" dirty="0">
              <a:solidFill>
                <a:prstClr val="white"/>
              </a:solidFill>
              <a:latin typeface="Helvetica Neue Thin"/>
              <a:sym typeface="Arial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38" y="6172200"/>
            <a:ext cx="12191762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GB" dirty="0">
              <a:solidFill>
                <a:prstClr val="white"/>
              </a:solidFill>
              <a:latin typeface="Helvetica Neue Thin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6" y="358777"/>
            <a:ext cx="5737225" cy="83715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776" y="1616075"/>
            <a:ext cx="5737225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DF21433-5D70-42D0-A129-835811F9CD51}" type="datetime1">
              <a:rPr lang="en-GB" smtClean="0">
                <a:solidFill>
                  <a:prstClr val="black"/>
                </a:solidFill>
              </a:rPr>
              <a:pPr/>
              <a:t>10/12/2017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prstClr val="black"/>
                </a:solidFill>
              </a:rPr>
              <a:t>PRESENTATION FOOTER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6096000" y="-1"/>
            <a:ext cx="6096000" cy="61722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6334545"/>
            <a:ext cx="345567" cy="361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21024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03793D6-1DDA-4B5C-932F-40F734EE7916}" type="datetime1">
              <a:rPr lang="en-GB" smtClean="0">
                <a:solidFill>
                  <a:prstClr val="black"/>
                </a:solidFill>
              </a:rPr>
              <a:pPr/>
              <a:t>10/12/2017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prstClr val="black"/>
                </a:solidFill>
              </a:rPr>
              <a:t>PRESENTATION FOOTER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48496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97E4459-7714-4389-A104-C3AE0EB678AC}" type="datetime1">
              <a:rPr lang="en-GB" smtClean="0">
                <a:solidFill>
                  <a:prstClr val="black"/>
                </a:solidFill>
              </a:rPr>
              <a:pPr/>
              <a:t>10/12/2017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prstClr val="black"/>
                </a:solidFill>
              </a:rPr>
              <a:t>PRESENTATION FOOTER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560963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l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213" y="4855083"/>
            <a:ext cx="3325742" cy="2824855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2544" y="-2092751"/>
            <a:ext cx="5227585" cy="4436736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10704" y="1404594"/>
            <a:ext cx="4047141" cy="4275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083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0.02314 C 0.00143 0.02314 0.00273 0.025 0.00273 0.02754 C 0.00273 0.03009 0.00143 0.03217 8.33333E-7 0.03217 C -0.00143 0.03217 -0.00247 0.03009 -0.00247 0.02754 C -0.00247 0.025 -0.00143 0.02314 8.33333E-7 0.02314 Z " pathEditMode="relative" rAng="0" ptsTypes="AAAAA">
                                      <p:cBhvr>
                                        <p:cTn id="6" dur="50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44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420000">
                                      <p:cBhvr>
                                        <p:cTn id="8" dur="5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1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3 0.0243 C -0.00287 0.0243 -0.00573 0.02546 -0.00573 0.02755 C -0.00573 0.0294 -0.00287 0.03102 0.00013 0.03102 C 0.00338 0.03102 0.00599 0.0294 0.00599 0.02755 C 0.00599 0.02546 0.00338 0.0243 0.00013 0.0243 Z " pathEditMode="relative" rAng="0" ptsTypes="AAAAA">
                                      <p:cBhvr>
                                        <p:cTn id="10" dur="60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600000">
                                      <p:cBhvr>
                                        <p:cTn id="12" dur="6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1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-2.59259E-6 C -0.003 -2.59259E-6 -0.00586 0.00278 -0.00586 0.00834 C -0.00586 0.01297 -0.003 0.01736 6.25E-7 0.01736 C 0.00325 0.01736 0.00586 0.01297 0.00586 0.00834 C 0.00586 0.00278 0.00325 -2.59259E-6 6.25E-7 -2.59259E-6 Z " pathEditMode="relative" rAng="0" ptsTypes="AAAAA">
                                      <p:cBhvr>
                                        <p:cTn id="14" dur="6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85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8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600000">
                                      <p:cBhvr>
                                        <p:cTn id="16" dur="6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whit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92800" y="2512800"/>
            <a:ext cx="9451200" cy="1752600"/>
          </a:xfrm>
          <a:prstGeom prst="roundRect">
            <a:avLst>
              <a:gd name="adj" fmla="val 7976"/>
            </a:avLst>
          </a:prstGeom>
        </p:spPr>
        <p:txBody>
          <a:bodyPr/>
          <a:lstStyle>
            <a:lvl1pPr marL="0" indent="0" algn="l">
              <a:spcBef>
                <a:spcPts val="288"/>
              </a:spcBef>
              <a:spcAft>
                <a:spcPts val="576"/>
              </a:spcAft>
              <a:buNone/>
              <a:defRPr sz="2400" baseline="0">
                <a:solidFill>
                  <a:srgbClr val="6C6F70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844800" y="151201"/>
            <a:ext cx="9451200" cy="2235600"/>
          </a:xfrm>
        </p:spPr>
        <p:txBody>
          <a:bodyPr anchor="b" anchorCtr="0"/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66399" y="6422400"/>
            <a:ext cx="2376900" cy="38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376" rtl="0" eaLnBrk="1" latinLnBrk="0" hangingPunct="1">
              <a:defRPr lang="en-US" sz="1000" kern="1200" baseline="0" smtClean="0">
                <a:solidFill>
                  <a:srgbClr val="6C6F70"/>
                </a:solidFill>
                <a:latin typeface="Helvetica Neue Thin"/>
                <a:ea typeface="+mn-ea"/>
                <a:cs typeface="+mn-cs"/>
              </a:defRPr>
            </a:lvl1pPr>
          </a:lstStyle>
          <a:p>
            <a:r>
              <a:rPr lang="en-GB" dirty="0" err="1"/>
              <a:t>yyyy</a:t>
            </a:r>
            <a:r>
              <a:rPr lang="en-GB" dirty="0"/>
              <a:t>-mm-</a:t>
            </a:r>
            <a:r>
              <a:rPr lang="en-GB" dirty="0" err="1"/>
              <a:t>dd</a:t>
            </a:r>
            <a:r>
              <a:rPr lang="en-GB" dirty="0"/>
              <a:t> or Month </a:t>
            </a:r>
            <a:r>
              <a:rPr lang="en-GB" dirty="0" err="1"/>
              <a:t>dd</a:t>
            </a:r>
            <a:r>
              <a:rPr lang="en-GB" dirty="0"/>
              <a:t>, </a:t>
            </a:r>
            <a:r>
              <a:rPr lang="en-GB" dirty="0" err="1"/>
              <a:t>yyyy</a:t>
            </a:r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66401" y="6422400"/>
            <a:ext cx="4161781" cy="38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US" sz="1000" kern="1200" baseline="0" dirty="0" smtClean="0">
                <a:solidFill>
                  <a:srgbClr val="6C6F70"/>
                </a:solidFill>
                <a:latin typeface="Helvetica Neue Thin"/>
                <a:ea typeface="+mn-ea"/>
                <a:cs typeface="+mn-cs"/>
              </a:defRPr>
            </a:lvl1pPr>
          </a:lstStyle>
          <a:p>
            <a:r>
              <a:rPr lang="lt-LT"/>
              <a:t>Internal Relation Identifier 0.1 Draft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71201" y="6422400"/>
            <a:ext cx="600000" cy="38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aseline="0">
                <a:solidFill>
                  <a:srgbClr val="6C6F70"/>
                </a:solidFill>
              </a:defRPr>
            </a:lvl1pPr>
          </a:lstStyle>
          <a:p>
            <a:fld id="{523AB868-074F-4CE9-A6E9-A247B98108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363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793D6-1DDA-4B5C-932F-40F734EE7916}" type="datetime1">
              <a:rPr lang="en-GB" smtClean="0"/>
              <a:t>10/12/2017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FOOTER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2000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Master Purple Panel left for illustr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med rundat hörn 9"/>
          <p:cNvSpPr/>
          <p:nvPr userDrawn="1"/>
        </p:nvSpPr>
        <p:spPr bwMode="auto">
          <a:xfrm flipV="1">
            <a:off x="-675" y="440660"/>
            <a:ext cx="6919001" cy="2880000"/>
          </a:xfrm>
          <a:prstGeom prst="round1Rect">
            <a:avLst>
              <a:gd name="adj" fmla="val 7106"/>
            </a:avLst>
          </a:prstGeom>
          <a:solidFill>
            <a:srgbClr val="652D8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</a:pPr>
            <a:endParaRPr lang="en-GB" sz="2400" dirty="0">
              <a:solidFill>
                <a:srgbClr val="000000"/>
              </a:solidFill>
              <a:latin typeface="Helvetica Neue Thin"/>
              <a:cs typeface="Arial"/>
              <a:sym typeface="Arial"/>
            </a:endParaRPr>
          </a:p>
        </p:txBody>
      </p:sp>
      <p:sp>
        <p:nvSpPr>
          <p:cNvPr id="48132" name="AutoShape 4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317836" y="438193"/>
            <a:ext cx="6637155" cy="2235200"/>
          </a:xfrm>
          <a:prstGeom prst="roundRect">
            <a:avLst>
              <a:gd name="adj" fmla="val 4903"/>
            </a:avLst>
          </a:prstGeom>
        </p:spPr>
        <p:txBody>
          <a:bodyPr anchor="t" anchorCtr="0"/>
          <a:lstStyle>
            <a:lvl1pPr>
              <a:lnSpc>
                <a:spcPct val="100000"/>
              </a:lnSpc>
              <a:defRPr sz="42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48133" name="AutoShape 5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367975" y="1902601"/>
            <a:ext cx="6550353" cy="626301"/>
          </a:xfrm>
          <a:prstGeom prst="roundRect">
            <a:avLst>
              <a:gd name="adj" fmla="val 8228"/>
            </a:avLst>
          </a:prstGeom>
        </p:spPr>
        <p:txBody>
          <a:bodyPr/>
          <a:lstStyle>
            <a:lvl1pPr marL="0" indent="0">
              <a:spcBef>
                <a:spcPts val="400"/>
              </a:spcBef>
              <a:spcAft>
                <a:spcPts val="800"/>
              </a:spcAft>
              <a:buFontTx/>
              <a:buNone/>
              <a:defRPr sz="2933" b="0" baseline="0">
                <a:solidFill>
                  <a:srgbClr val="D4D0CA"/>
                </a:solidFill>
              </a:defRPr>
            </a:lvl1pPr>
          </a:lstStyle>
          <a:p>
            <a:pPr lvl="0"/>
            <a:r>
              <a:rPr lang="en-GB" noProof="0" dirty="0"/>
              <a:t>Click to edit Name</a:t>
            </a:r>
          </a:p>
        </p:txBody>
      </p:sp>
      <p:sp>
        <p:nvSpPr>
          <p:cNvPr id="5" name="Platshållare för text 4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70491" y="2324653"/>
            <a:ext cx="6547837" cy="694772"/>
          </a:xfrm>
          <a:prstGeom prst="roundRect">
            <a:avLst>
              <a:gd name="adj" fmla="val 4924"/>
            </a:avLst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133">
                <a:solidFill>
                  <a:srgbClr val="D4D0CA"/>
                </a:solidFill>
              </a:defRPr>
            </a:lvl1pPr>
          </a:lstStyle>
          <a:p>
            <a:pPr lvl="0"/>
            <a:r>
              <a:rPr lang="en-GB" noProof="0"/>
              <a:t>Click to edit Master subtitle style second level</a:t>
            </a:r>
          </a:p>
        </p:txBody>
      </p:sp>
      <p:grpSp>
        <p:nvGrpSpPr>
          <p:cNvPr id="12" name="Grupp 11"/>
          <p:cNvGrpSpPr/>
          <p:nvPr userDrawn="1"/>
        </p:nvGrpSpPr>
        <p:grpSpPr>
          <a:xfrm>
            <a:off x="9285276" y="6021289"/>
            <a:ext cx="2713027" cy="827581"/>
            <a:chOff x="5973774" y="5994831"/>
            <a:chExt cx="2574317" cy="785269"/>
          </a:xfrm>
        </p:grpSpPr>
        <p:sp>
          <p:nvSpPr>
            <p:cNvPr id="13" name="Rektangel med rundat hörn 12"/>
            <p:cNvSpPr/>
            <p:nvPr userDrawn="1"/>
          </p:nvSpPr>
          <p:spPr bwMode="auto">
            <a:xfrm>
              <a:off x="5973774" y="5994831"/>
              <a:ext cx="2574317" cy="785269"/>
            </a:xfrm>
            <a:prstGeom prst="round1Rect">
              <a:avLst>
                <a:gd name="adj" fmla="val 19289"/>
              </a:avLst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GB" sz="2400" dirty="0">
                <a:solidFill>
                  <a:srgbClr val="000000"/>
                </a:solidFill>
                <a:latin typeface="Helvetica Neue Thin"/>
                <a:cs typeface="Arial"/>
                <a:sym typeface="Arial"/>
              </a:endParaRPr>
            </a:p>
          </p:txBody>
        </p:sp>
        <p:pic>
          <p:nvPicPr>
            <p:cNvPr id="14" name="Bildobjekt 13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73775" y="6076888"/>
              <a:ext cx="2574314" cy="6644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97107399"/>
      </p:ext>
    </p:extLst>
  </p:cSld>
  <p:clrMapOvr>
    <a:masterClrMapping/>
  </p:clrMapOvr>
  <p:transition/>
  <p:hf hdr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Mas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auto">
          <a:xfrm>
            <a:off x="-535" y="3"/>
            <a:ext cx="12201739" cy="6858288"/>
          </a:xfrm>
          <a:prstGeom prst="rect">
            <a:avLst/>
          </a:prstGeom>
          <a:gradFill flip="none" rotWithShape="1">
            <a:gsLst>
              <a:gs pos="59000">
                <a:srgbClr val="2A1238"/>
              </a:gs>
              <a:gs pos="100000">
                <a:srgbClr val="1B0B24"/>
              </a:gs>
              <a:gs pos="15000">
                <a:srgbClr val="521C6E"/>
              </a:gs>
            </a:gsLst>
            <a:lin ang="16200000" scaled="0"/>
            <a:tileRect/>
          </a:gra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none" lIns="96492" tIns="48256" rIns="96492" bIns="4825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64855" fontAlgn="base">
              <a:spcBef>
                <a:spcPct val="0"/>
              </a:spcBef>
              <a:spcAft>
                <a:spcPct val="0"/>
              </a:spcAft>
            </a:pPr>
            <a:endParaRPr lang="en-US" sz="1905" dirty="0">
              <a:solidFill>
                <a:prstClr val="black"/>
              </a:solidFill>
              <a:latin typeface="Helvetica Neue Thin"/>
              <a:cs typeface="Arial"/>
              <a:sym typeface="Arial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50800" b="95200" l="26389" r="94213">
                        <a14:foregroundMark x1="55556" y1="68400" x2="55556" y2="68400"/>
                        <a14:foregroundMark x1="90046" y1="72800" x2="90046" y2="72800"/>
                        <a14:foregroundMark x1="83102" y1="72000" x2="83102" y2="72000"/>
                        <a14:foregroundMark x1="79398" y1="71200" x2="79398" y2="71200"/>
                        <a14:foregroundMark x1="59028" y1="69200" x2="59028" y2="69200"/>
                        <a14:foregroundMark x1="69213" y1="68400" x2="69213" y2="68400"/>
                        <a14:foregroundMark x1="75694" y1="71200" x2="75694" y2="71200"/>
                        <a14:foregroundMark x1="75926" y1="63200" x2="75926" y2="63200"/>
                        <a14:backgroundMark x1="85648" y1="73200" x2="85648" y2="73200"/>
                        <a14:backgroundMark x1="85417" y1="68400" x2="85417" y2="68400"/>
                      </a14:backgroundRemoval>
                    </a14:imgEffect>
                  </a14:imgLayer>
                </a14:imgProps>
              </a:ext>
            </a:extLst>
          </a:blip>
          <a:srcRect l="27611" t="50000" r="5901" b="13074"/>
          <a:stretch/>
        </p:blipFill>
        <p:spPr>
          <a:xfrm>
            <a:off x="10286712" y="6248647"/>
            <a:ext cx="1229892" cy="395341"/>
          </a:xfrm>
          <a:prstGeom prst="rect">
            <a:avLst/>
          </a:prstGeom>
        </p:spPr>
      </p:pic>
      <p:sp>
        <p:nvSpPr>
          <p:cNvPr id="48132" name="AutoShap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842434" y="152410"/>
            <a:ext cx="9408584" cy="2235200"/>
          </a:xfrm>
          <a:prstGeom prst="roundRect">
            <a:avLst>
              <a:gd name="adj" fmla="val 4903"/>
            </a:avLst>
          </a:prstGeom>
        </p:spPr>
        <p:txBody>
          <a:bodyPr anchor="b"/>
          <a:lstStyle>
            <a:lvl1pPr>
              <a:lnSpc>
                <a:spcPct val="100000"/>
              </a:lnSpc>
              <a:defRPr sz="4656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48133" name="AutoShape 5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878683" y="2563816"/>
            <a:ext cx="9378247" cy="505146"/>
          </a:xfrm>
          <a:prstGeom prst="roundRect">
            <a:avLst>
              <a:gd name="adj" fmla="val 8228"/>
            </a:avLst>
          </a:prstGeom>
        </p:spPr>
        <p:txBody>
          <a:bodyPr/>
          <a:lstStyle>
            <a:lvl1pPr marL="0" indent="0">
              <a:spcBef>
                <a:spcPts val="400"/>
              </a:spcBef>
              <a:spcAft>
                <a:spcPts val="800"/>
              </a:spcAft>
              <a:buFontTx/>
              <a:buNone/>
              <a:defRPr sz="3174" b="0" baseline="0">
                <a:solidFill>
                  <a:srgbClr val="6C6F70"/>
                </a:solidFill>
              </a:defRPr>
            </a:lvl1pPr>
          </a:lstStyle>
          <a:p>
            <a:pPr lvl="0"/>
            <a:r>
              <a:rPr lang="en-GB" noProof="0" dirty="0"/>
              <a:t>Click to edit Name</a:t>
            </a:r>
          </a:p>
        </p:txBody>
      </p:sp>
      <p:sp>
        <p:nvSpPr>
          <p:cNvPr id="48143" name="Rectangle 15"/>
          <p:cNvSpPr>
            <a:spLocks noGrp="1" noChangeArrowheads="1"/>
          </p:cNvSpPr>
          <p:nvPr>
            <p:ph type="dt" sz="half" idx="2"/>
          </p:nvPr>
        </p:nvSpPr>
        <p:spPr>
          <a:xfrm>
            <a:off x="1055491" y="6421441"/>
            <a:ext cx="2376338" cy="382587"/>
          </a:xfrm>
        </p:spPr>
        <p:txBody>
          <a:bodyPr/>
          <a:lstStyle>
            <a:lvl1pPr>
              <a:defRPr/>
            </a:lvl1pPr>
          </a:lstStyle>
          <a:p>
            <a:endParaRPr lang="sv-SE" dirty="0">
              <a:solidFill>
                <a:srgbClr val="C7C2BA"/>
              </a:solidFill>
            </a:endParaRPr>
          </a:p>
        </p:txBody>
      </p:sp>
      <p:sp>
        <p:nvSpPr>
          <p:cNvPr id="48144" name="Rectangle 16"/>
          <p:cNvSpPr>
            <a:spLocks noGrp="1" noChangeArrowheads="1"/>
          </p:cNvSpPr>
          <p:nvPr>
            <p:ph type="ftr" sz="quarter" idx="3"/>
          </p:nvPr>
        </p:nvSpPr>
        <p:spPr>
          <a:xfrm>
            <a:off x="3431827" y="6421441"/>
            <a:ext cx="3991375" cy="382587"/>
          </a:xfrm>
          <a:prstGeom prst="rect">
            <a:avLst/>
          </a:prstGeom>
        </p:spPr>
        <p:txBody>
          <a:bodyPr lIns="91190" tIns="45604" rIns="91190" bIns="45604"/>
          <a:lstStyle>
            <a:lvl1pPr>
              <a:defRPr>
                <a:latin typeface="Helvetica Neue Thin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BMI Presentation - March 20</a:t>
            </a:r>
          </a:p>
        </p:txBody>
      </p:sp>
      <p:sp>
        <p:nvSpPr>
          <p:cNvPr id="48145" name="Rectangle 17"/>
          <p:cNvSpPr>
            <a:spLocks noGrp="1" noChangeArrowheads="1"/>
          </p:cNvSpPr>
          <p:nvPr>
            <p:ph type="sldNum" sz="quarter" idx="4"/>
          </p:nvPr>
        </p:nvSpPr>
        <p:spPr>
          <a:xfrm>
            <a:off x="570688" y="6421441"/>
            <a:ext cx="541866" cy="382587"/>
          </a:xfrm>
          <a:prstGeom prst="rect">
            <a:avLst/>
          </a:prstGeom>
        </p:spPr>
        <p:txBody>
          <a:bodyPr lIns="91190" tIns="45604" rIns="91190" bIns="45604"/>
          <a:lstStyle>
            <a:lvl1pPr>
              <a:defRPr>
                <a:latin typeface="Helvetica Neue Thin"/>
              </a:defRPr>
            </a:lvl1pPr>
          </a:lstStyle>
          <a:p>
            <a:fld id="{AA048887-89D2-4FA2-B9BC-608D43FD4D7C}" type="slidenum">
              <a:rPr lang="en-GB" smtClean="0">
                <a:solidFill>
                  <a:srgbClr val="C7C2BA"/>
                </a:solidFill>
              </a:rPr>
              <a:pPr/>
              <a:t>‹#›</a:t>
            </a:fld>
            <a:endParaRPr lang="en-GB" dirty="0">
              <a:solidFill>
                <a:srgbClr val="C7C2BA"/>
              </a:solidFill>
            </a:endParaRP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 hasCustomPrompt="1"/>
          </p:nvPr>
        </p:nvSpPr>
        <p:spPr>
          <a:xfrm>
            <a:off x="908735" y="3095361"/>
            <a:ext cx="9348195" cy="1296144"/>
          </a:xfrm>
          <a:prstGeom prst="roundRect">
            <a:avLst>
              <a:gd name="adj" fmla="val 4954"/>
            </a:avLst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222">
                <a:solidFill>
                  <a:srgbClr val="6C6F70"/>
                </a:solidFill>
              </a:defRPr>
            </a:lvl1pPr>
          </a:lstStyle>
          <a:p>
            <a:pPr lvl="0"/>
            <a:r>
              <a:rPr lang="en-GB" noProof="0" dirty="0"/>
              <a:t>Click to edit Master subtitle style second level</a:t>
            </a:r>
          </a:p>
        </p:txBody>
      </p:sp>
    </p:spTree>
    <p:extLst>
      <p:ext uri="{BB962C8B-B14F-4D97-AF65-F5344CB8AC3E}">
        <p14:creationId xmlns:p14="http://schemas.microsoft.com/office/powerpoint/2010/main" val="140925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wipe/>
      </p:transition>
    </mc:Choice>
    <mc:Fallback xmlns="">
      <p:transition xmlns:p14="http://schemas.microsoft.com/office/powerpoint/2010/main" spd="slow">
        <p:wip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E4459-7714-4389-A104-C3AE0EB678AC}" type="datetime1">
              <a:rPr lang="en-GB" smtClean="0"/>
              <a:t>10/12/2017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FOOTER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7307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l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213" y="4855082"/>
            <a:ext cx="3325742" cy="2824855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2543" y="-2092751"/>
            <a:ext cx="5227585" cy="4436736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10705" y="1404594"/>
            <a:ext cx="4047141" cy="427504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4267" y="2795450"/>
            <a:ext cx="3194755" cy="1294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6881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0.02314 C 0.00143 0.02314 0.00273 0.025 0.00273 0.02754 C 0.00273 0.03009 0.00143 0.03217 8.33333E-7 0.03217 C -0.00143 0.03217 -0.00247 0.03009 -0.00247 0.02754 C -0.00247 0.025 -0.00143 0.02314 8.33333E-7 0.02314 Z " pathEditMode="relative" rAng="0" ptsTypes="AAAAA">
                                      <p:cBhvr>
                                        <p:cTn id="6" dur="50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44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420000">
                                      <p:cBhvr>
                                        <p:cTn id="8" dur="5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1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3 0.0243 C -0.00287 0.0243 -0.00573 0.02546 -0.00573 0.02755 C -0.00573 0.0294 -0.00287 0.03102 0.00013 0.03102 C 0.00338 0.03102 0.00599 0.0294 0.00599 0.02755 C 0.00599 0.02546 0.00338 0.0243 0.00013 0.0243 Z " pathEditMode="relative" rAng="0" ptsTypes="AAAAA">
                                      <p:cBhvr>
                                        <p:cTn id="10" dur="6000" spd="-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600000">
                                      <p:cBhvr>
                                        <p:cTn id="12" dur="6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1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-2.59259E-6 C -0.003 -2.59259E-6 -0.00586 0.00278 -0.00586 0.00834 C -0.00586 0.01297 -0.003 0.01736 6.25E-7 0.01736 C 0.00325 0.01736 0.00586 0.01297 0.00586 0.00834 C 0.00586 0.00278 0.00325 -2.59259E-6 6.25E-7 -2.59259E-6 Z " pathEditMode="relative" rAng="0" ptsTypes="AAAAA">
                                      <p:cBhvr>
                                        <p:cTn id="14" dur="6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85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8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600000">
                                      <p:cBhvr>
                                        <p:cTn id="16" dur="6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 smtClean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5" name="Picture 3" descr="2_TeliaSonera_Full_R 30mm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5501" y="5851525"/>
            <a:ext cx="3977217" cy="604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132" name="AutoShape 4"/>
          <p:cNvSpPr>
            <a:spLocks noGrp="1" noChangeArrowheads="1"/>
          </p:cNvSpPr>
          <p:nvPr>
            <p:ph type="ctrTitle"/>
          </p:nvPr>
        </p:nvSpPr>
        <p:spPr>
          <a:xfrm>
            <a:off x="842433" y="152400"/>
            <a:ext cx="9448800" cy="2235200"/>
          </a:xfrm>
          <a:prstGeom prst="roundRect">
            <a:avLst>
              <a:gd name="adj" fmla="val 4903"/>
            </a:avLst>
          </a:prstGeom>
        </p:spPr>
        <p:txBody>
          <a:bodyPr anchor="b"/>
          <a:lstStyle>
            <a:lvl1pPr>
              <a:lnSpc>
                <a:spcPct val="95000"/>
              </a:lnSpc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sv-SE" noProof="0" smtClean="0"/>
          </a:p>
        </p:txBody>
      </p:sp>
      <p:sp>
        <p:nvSpPr>
          <p:cNvPr id="48133" name="AutoShape 5"/>
          <p:cNvSpPr>
            <a:spLocks noGrp="1" noChangeArrowheads="1"/>
          </p:cNvSpPr>
          <p:nvPr>
            <p:ph type="subTitle" idx="1"/>
          </p:nvPr>
        </p:nvSpPr>
        <p:spPr>
          <a:xfrm>
            <a:off x="891117" y="2513013"/>
            <a:ext cx="9448800" cy="1752600"/>
          </a:xfrm>
          <a:prstGeom prst="roundRect">
            <a:avLst>
              <a:gd name="adj" fmla="val 5977"/>
            </a:avLst>
          </a:prstGeom>
        </p:spPr>
        <p:txBody>
          <a:bodyPr/>
          <a:lstStyle>
            <a:lvl1pPr marL="0" indent="0">
              <a:spcBef>
                <a:spcPct val="10000"/>
              </a:spcBef>
              <a:spcAft>
                <a:spcPct val="20000"/>
              </a:spcAft>
              <a:buFontTx/>
              <a:buNone/>
              <a:defRPr sz="2400">
                <a:solidFill>
                  <a:srgbClr val="D8D4CE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1168400" y="6421439"/>
            <a:ext cx="1921933" cy="38258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C7C2BA"/>
                </a:solidFill>
              </a:rPr>
              <a:t>Month dd, yyyy</a:t>
            </a:r>
            <a:endParaRPr lang="en-GB">
              <a:solidFill>
                <a:srgbClr val="C7C2BA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092452" y="6421439"/>
            <a:ext cx="5312833" cy="38258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>
                <a:solidFill>
                  <a:srgbClr val="C7C2BA"/>
                </a:solidFill>
              </a:rPr>
              <a:t>Operational Plan CT ZZZ 2015 	0.1 Draft</a:t>
            </a:r>
            <a:endParaRPr lang="en-GB" noProof="0" dirty="0">
              <a:solidFill>
                <a:srgbClr val="C7C2BA"/>
              </a:solidFill>
            </a:endParaRP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2A82F8-70F6-4C78-8340-55DDA102039C}" type="slidenum">
              <a:rPr lang="en-GB">
                <a:solidFill>
                  <a:srgbClr val="C7C2BA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135670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26" Type="http://schemas.openxmlformats.org/officeDocument/2006/relationships/image" Target="../media/image8.emf"/><Relationship Id="rId3" Type="http://schemas.openxmlformats.org/officeDocument/2006/relationships/slideLayout" Target="../slideLayouts/slideLayout12.xml"/><Relationship Id="rId21" Type="http://schemas.openxmlformats.org/officeDocument/2006/relationships/slideLayout" Target="../slideLayouts/slideLayout30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0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9.xml"/><Relationship Id="rId19" Type="http://schemas.openxmlformats.org/officeDocument/2006/relationships/slideLayout" Target="../slideLayouts/slideLayout28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Relationship Id="rId22" Type="http://schemas.openxmlformats.org/officeDocument/2006/relationships/theme" Target="../theme/theme2.xml"/><Relationship Id="rId27" Type="http://schemas.openxmlformats.org/officeDocument/2006/relationships/image" Target="../media/image9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image" Target="../media/image9.png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image" Target="../media/image8.emf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vmlDrawing" Target="../drawings/vmlDrawing2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238" y="6172200"/>
            <a:ext cx="12191762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75" y="358776"/>
            <a:ext cx="11471275" cy="91563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616074"/>
            <a:ext cx="11471275" cy="4572000"/>
          </a:xfrm>
          <a:prstGeom prst="rect">
            <a:avLst/>
          </a:prstGeom>
        </p:spPr>
        <p:txBody>
          <a:bodyPr vert="horz" lIns="0" tIns="0" rIns="18000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78098" y="6438156"/>
            <a:ext cx="8280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6A5453F8-179E-4406-ACB2-071063CB716C}" type="datetime1">
              <a:rPr lang="en-GB" smtClean="0"/>
              <a:t>10/12/2017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06098" y="6438156"/>
            <a:ext cx="9255406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RESENTATION FOOTER</a:t>
            </a:r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61504" y="6438156"/>
            <a:ext cx="768545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A92D7E8A-A0E3-4239-9A38-4F8DCAE2A924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6334544"/>
            <a:ext cx="345567" cy="361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817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6" r:id="rId5"/>
    <p:sldLayoutId id="2147483654" r:id="rId6"/>
    <p:sldLayoutId id="2147483655" r:id="rId7"/>
    <p:sldLayoutId id="2147483658" r:id="rId8"/>
    <p:sldLayoutId id="2147483659" r:id="rId9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500" b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71463" indent="-271463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26670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6670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26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26" userDrawn="1">
          <p15:clr>
            <a:srgbClr val="F26B43"/>
          </p15:clr>
        </p15:guide>
        <p15:guide id="4" pos="7452" userDrawn="1">
          <p15:clr>
            <a:srgbClr val="F26B43"/>
          </p15:clr>
        </p15:guide>
        <p15:guide id="5" orient="horz" pos="3888" userDrawn="1">
          <p15:clr>
            <a:srgbClr val="F26B43"/>
          </p15:clr>
        </p15:guide>
        <p15:guide id="6" orient="horz" pos="1018" userDrawn="1">
          <p15:clr>
            <a:srgbClr val="F26B43"/>
          </p15:clr>
        </p15:guide>
        <p15:guide id="7" pos="2033" userDrawn="1">
          <p15:clr>
            <a:srgbClr val="F26B43"/>
          </p15:clr>
        </p15:guide>
        <p15:guide id="8" pos="564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9999" y="538163"/>
            <a:ext cx="11112251" cy="10795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sv-S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9" y="1793875"/>
            <a:ext cx="11112251" cy="4167188"/>
          </a:xfrm>
          <a:prstGeom prst="rect">
            <a:avLst/>
          </a:prstGeom>
        </p:spPr>
        <p:txBody>
          <a:bodyPr vert="horz" lIns="0" tIns="0" rIns="18000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sv-SE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84746" y="6421919"/>
            <a:ext cx="8280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sv-SE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40617" y="6421919"/>
            <a:ext cx="90360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sv-SE" smtClean="0">
                <a:solidFill>
                  <a:prstClr val="black"/>
                </a:solidFill>
              </a:rPr>
              <a:t>Confidential</a:t>
            </a:r>
            <a:endParaRPr lang="sv-SE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9999" y="6421919"/>
            <a:ext cx="4320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A92D7E8A-A0E3-4239-9A38-4F8DCAE2A924}" type="slidenum">
              <a:rPr lang="sv-SE" smtClean="0">
                <a:solidFill>
                  <a:prstClr val="black"/>
                </a:solidFill>
              </a:rPr>
              <a:pPr/>
              <a:t>‹#›</a:t>
            </a:fld>
            <a:endParaRPr lang="sv-SE" dirty="0">
              <a:solidFill>
                <a:prstClr val="black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3901" y="6320917"/>
            <a:ext cx="338349" cy="35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067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704" r:id="rId21"/>
  </p:sldLayoutIdLst>
  <p:transition>
    <p:fade/>
  </p:transition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400" b="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76000" indent="-28575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64000" indent="-276225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−"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864000" indent="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864000" indent="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6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None/>
        <a:defRPr sz="2200" kern="1200">
          <a:solidFill>
            <a:schemeClr val="tx1"/>
          </a:solidFill>
          <a:latin typeface="+mj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39">
          <p15:clr>
            <a:srgbClr val="F26B43"/>
          </p15:clr>
        </p15:guide>
        <p15:guide id="2" pos="3896">
          <p15:clr>
            <a:srgbClr val="F26B43"/>
          </p15:clr>
        </p15:guide>
        <p15:guide id="3" pos="339">
          <p15:clr>
            <a:srgbClr val="F26B43"/>
          </p15:clr>
        </p15:guide>
        <p15:guide id="4" pos="7340">
          <p15:clr>
            <a:srgbClr val="F26B43"/>
          </p15:clr>
        </p15:guide>
        <p15:guide id="5" orient="horz" pos="3755">
          <p15:clr>
            <a:srgbClr val="F26B43"/>
          </p15:clr>
        </p15:guide>
        <p15:guide id="6" orient="horz" pos="1019">
          <p15:clr>
            <a:srgbClr val="F26B43"/>
          </p15:clr>
        </p15:guide>
        <p15:guide id="7" pos="2006">
          <p15:clr>
            <a:srgbClr val="F26B43"/>
          </p15:clr>
        </p15:guide>
        <p15:guide id="8" pos="5673">
          <p15:clr>
            <a:srgbClr val="F26B43"/>
          </p15:clr>
        </p15:guide>
        <p15:guide id="9" pos="2118">
          <p15:clr>
            <a:srgbClr val="F26B43"/>
          </p15:clr>
        </p15:guide>
        <p15:guide id="10" pos="3783">
          <p15:clr>
            <a:srgbClr val="F26B43"/>
          </p15:clr>
        </p15:guide>
        <p15:guide id="11" pos="5562">
          <p15:clr>
            <a:srgbClr val="F26B43"/>
          </p15:clr>
        </p15:guide>
        <p15:guide id="12" orient="horz" pos="1130">
          <p15:clr>
            <a:srgbClr val="F26B43"/>
          </p15:clr>
        </p15:guide>
        <p15:guide id="13" orient="horz" pos="2042">
          <p15:clr>
            <a:srgbClr val="F26B43"/>
          </p15:clr>
        </p15:guide>
        <p15:guide id="14" orient="horz" pos="2843">
          <p15:clr>
            <a:srgbClr val="F26B43"/>
          </p15:clr>
        </p15:guide>
        <p15:guide id="15" orient="horz" pos="1931">
          <p15:clr>
            <a:srgbClr val="F26B43"/>
          </p15:clr>
        </p15:guide>
        <p15:guide id="16" orient="horz" pos="2954">
          <p15:clr>
            <a:srgbClr val="F26B43"/>
          </p15:clr>
        </p15:guide>
        <p15:guide id="17" orient="horz" pos="386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9999" y="538163"/>
            <a:ext cx="11112251" cy="10795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sv-S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9" y="1793875"/>
            <a:ext cx="11112251" cy="4167188"/>
          </a:xfrm>
          <a:prstGeom prst="rect">
            <a:avLst/>
          </a:prstGeom>
        </p:spPr>
        <p:txBody>
          <a:bodyPr vert="horz" lIns="0" tIns="0" rIns="18000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sv-SE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84746" y="6421919"/>
            <a:ext cx="8280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sv-SE">
                <a:solidFill>
                  <a:prstClr val="black"/>
                </a:solidFill>
              </a:rPr>
              <a:t>yyyy-mm-dd</a:t>
            </a:r>
            <a:endParaRPr lang="sv-SE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40617" y="6421919"/>
            <a:ext cx="90360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sv-SE" smtClean="0">
                <a:solidFill>
                  <a:prstClr val="black"/>
                </a:solidFill>
              </a:rPr>
              <a:t>Confidential</a:t>
            </a:r>
            <a:endParaRPr lang="sv-SE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9999" y="6421919"/>
            <a:ext cx="4320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A92D7E8A-A0E3-4239-9A38-4F8DCAE2A924}" type="slidenum">
              <a:rPr lang="sv-SE" smtClean="0">
                <a:solidFill>
                  <a:prstClr val="black"/>
                </a:solidFill>
              </a:rPr>
              <a:pPr/>
              <a:t>‹#›</a:t>
            </a:fld>
            <a:endParaRPr lang="sv-SE" dirty="0">
              <a:solidFill>
                <a:prstClr val="black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3901" y="6320917"/>
            <a:ext cx="338349" cy="35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2148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</p:sldLayoutIdLst>
  <p:transition>
    <p:fade/>
  </p:transition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400" b="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76000" indent="-28575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64000" indent="-276225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−"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864000" indent="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864000" indent="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6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None/>
        <a:defRPr sz="2200" kern="1200">
          <a:solidFill>
            <a:schemeClr val="tx1"/>
          </a:solidFill>
          <a:latin typeface="+mj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39">
          <p15:clr>
            <a:srgbClr val="F26B43"/>
          </p15:clr>
        </p15:guide>
        <p15:guide id="2" pos="3896">
          <p15:clr>
            <a:srgbClr val="F26B43"/>
          </p15:clr>
        </p15:guide>
        <p15:guide id="3" pos="339">
          <p15:clr>
            <a:srgbClr val="F26B43"/>
          </p15:clr>
        </p15:guide>
        <p15:guide id="4" pos="7340">
          <p15:clr>
            <a:srgbClr val="F26B43"/>
          </p15:clr>
        </p15:guide>
        <p15:guide id="5" orient="horz" pos="3755">
          <p15:clr>
            <a:srgbClr val="F26B43"/>
          </p15:clr>
        </p15:guide>
        <p15:guide id="6" orient="horz" pos="1019">
          <p15:clr>
            <a:srgbClr val="F26B43"/>
          </p15:clr>
        </p15:guide>
        <p15:guide id="7" pos="2006">
          <p15:clr>
            <a:srgbClr val="F26B43"/>
          </p15:clr>
        </p15:guide>
        <p15:guide id="8" pos="5673">
          <p15:clr>
            <a:srgbClr val="F26B43"/>
          </p15:clr>
        </p15:guide>
        <p15:guide id="9" pos="2118">
          <p15:clr>
            <a:srgbClr val="F26B43"/>
          </p15:clr>
        </p15:guide>
        <p15:guide id="10" pos="3783">
          <p15:clr>
            <a:srgbClr val="F26B43"/>
          </p15:clr>
        </p15:guide>
        <p15:guide id="11" pos="5562">
          <p15:clr>
            <a:srgbClr val="F26B43"/>
          </p15:clr>
        </p15:guide>
        <p15:guide id="12" orient="horz" pos="1130">
          <p15:clr>
            <a:srgbClr val="F26B43"/>
          </p15:clr>
        </p15:guide>
        <p15:guide id="13" orient="horz" pos="2042">
          <p15:clr>
            <a:srgbClr val="F26B43"/>
          </p15:clr>
        </p15:guide>
        <p15:guide id="14" orient="horz" pos="2843">
          <p15:clr>
            <a:srgbClr val="F26B43"/>
          </p15:clr>
        </p15:guide>
        <p15:guide id="15" orient="horz" pos="1931">
          <p15:clr>
            <a:srgbClr val="F26B43"/>
          </p15:clr>
        </p15:guide>
        <p15:guide id="16" orient="horz" pos="2954">
          <p15:clr>
            <a:srgbClr val="F26B43"/>
          </p15:clr>
        </p15:guide>
        <p15:guide id="17" orient="horz" pos="386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238" y="6172200"/>
            <a:ext cx="12191762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378"/>
            <a:endParaRPr lang="en-GB" dirty="0">
              <a:solidFill>
                <a:prstClr val="white"/>
              </a:solidFill>
              <a:latin typeface="Helvetica Neue Thin"/>
              <a:sym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76" y="358777"/>
            <a:ext cx="11471275" cy="91563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6" y="1616074"/>
            <a:ext cx="11471275" cy="4572000"/>
          </a:xfrm>
          <a:prstGeom prst="rect">
            <a:avLst/>
          </a:prstGeom>
        </p:spPr>
        <p:txBody>
          <a:bodyPr vert="horz" lIns="0" tIns="0" rIns="18000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78098" y="6438156"/>
            <a:ext cx="8280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Helvetica Neue Thin"/>
              </a:defRPr>
            </a:lvl1pPr>
          </a:lstStyle>
          <a:p>
            <a:pPr defTabSz="914378"/>
            <a:fld id="{6A5453F8-179E-4406-ACB2-071063CB716C}" type="datetime1">
              <a:rPr lang="en-GB" smtClean="0">
                <a:solidFill>
                  <a:prstClr val="black"/>
                </a:solidFill>
                <a:cs typeface="Arial"/>
                <a:sym typeface="Arial"/>
              </a:rPr>
              <a:pPr defTabSz="914378"/>
              <a:t>10/12/2017</a:t>
            </a:fld>
            <a:endParaRPr lang="en-GB" dirty="0">
              <a:solidFill>
                <a:prstClr val="black"/>
              </a:solidFill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06099" y="6438156"/>
            <a:ext cx="9255406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Helvetica Neue Thin"/>
              </a:defRPr>
            </a:lvl1pPr>
          </a:lstStyle>
          <a:p>
            <a:pPr defTabSz="914378"/>
            <a:r>
              <a:rPr lang="en-US" smtClean="0">
                <a:solidFill>
                  <a:prstClr val="black"/>
                </a:solidFill>
                <a:cs typeface="Arial"/>
                <a:sym typeface="Arial"/>
              </a:rPr>
              <a:t>PRESENTATION FOOTER</a:t>
            </a:r>
            <a:endParaRPr lang="en-GB" dirty="0">
              <a:solidFill>
                <a:srgbClr val="FF0000"/>
              </a:solidFill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61505" y="6438156"/>
            <a:ext cx="768545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Helvetica Neue Thin"/>
              </a:defRPr>
            </a:lvl1pPr>
          </a:lstStyle>
          <a:p>
            <a:pPr defTabSz="914378"/>
            <a:fld id="{A92D7E8A-A0E3-4239-9A38-4F8DCAE2A924}" type="slidenum">
              <a:rPr lang="en-GB" smtClean="0">
                <a:solidFill>
                  <a:prstClr val="black"/>
                </a:solidFill>
                <a:cs typeface="Arial"/>
                <a:sym typeface="Arial"/>
              </a:rPr>
              <a:pPr defTabSz="914378"/>
              <a:t>‹#›</a:t>
            </a:fld>
            <a:endParaRPr lang="en-GB" dirty="0">
              <a:solidFill>
                <a:prstClr val="black"/>
              </a:solidFill>
              <a:cs typeface="Arial"/>
              <a:sym typeface="Arial"/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6334545"/>
            <a:ext cx="345567" cy="361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435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hf hdr="0"/>
  <p:txStyles>
    <p:titleStyle>
      <a:lvl1pPr algn="l" defTabSz="914378" rtl="0" eaLnBrk="1" latinLnBrk="0" hangingPunct="1">
        <a:lnSpc>
          <a:spcPct val="85000"/>
        </a:lnSpc>
        <a:spcBef>
          <a:spcPct val="0"/>
        </a:spcBef>
        <a:buNone/>
        <a:defRPr sz="3500" b="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lnSpc>
          <a:spcPct val="110000"/>
        </a:lnSpc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2200" kern="1200">
          <a:solidFill>
            <a:schemeClr val="tx1"/>
          </a:solidFill>
          <a:latin typeface="Helvetica Neue Thin"/>
          <a:ea typeface="+mn-ea"/>
          <a:cs typeface="+mn-cs"/>
        </a:defRPr>
      </a:lvl1pPr>
      <a:lvl2pPr marL="0" indent="0" algn="l" defTabSz="914378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Helvetica Neue Thin"/>
          <a:ea typeface="+mn-ea"/>
          <a:cs typeface="+mn-cs"/>
        </a:defRPr>
      </a:lvl2pPr>
      <a:lvl3pPr marL="271457" indent="-271457" algn="l" defTabSz="914378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 Thin"/>
          <a:ea typeface="+mn-ea"/>
          <a:cs typeface="+mn-cs"/>
        </a:defRPr>
      </a:lvl3pPr>
      <a:lvl4pPr marL="266693" indent="0" algn="l" defTabSz="914378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Helvetica Neue Thin"/>
          <a:ea typeface="+mn-ea"/>
          <a:cs typeface="+mn-cs"/>
        </a:defRPr>
      </a:lvl4pPr>
      <a:lvl5pPr marL="266693" indent="0" algn="l" defTabSz="914378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Helvetica Neue Thin"/>
          <a:ea typeface="+mn-ea"/>
          <a:cs typeface="+mn-cs"/>
        </a:defRPr>
      </a:lvl5pPr>
      <a:lvl6pPr marL="2514537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26">
          <p15:clr>
            <a:srgbClr val="F26B43"/>
          </p15:clr>
        </p15:guide>
        <p15:guide id="2" pos="3840">
          <p15:clr>
            <a:srgbClr val="F26B43"/>
          </p15:clr>
        </p15:guide>
        <p15:guide id="3" pos="226">
          <p15:clr>
            <a:srgbClr val="F26B43"/>
          </p15:clr>
        </p15:guide>
        <p15:guide id="4" pos="7452">
          <p15:clr>
            <a:srgbClr val="F26B43"/>
          </p15:clr>
        </p15:guide>
        <p15:guide id="5" orient="horz" pos="3888">
          <p15:clr>
            <a:srgbClr val="F26B43"/>
          </p15:clr>
        </p15:guide>
        <p15:guide id="6" orient="horz" pos="1018">
          <p15:clr>
            <a:srgbClr val="F26B43"/>
          </p15:clr>
        </p15:guide>
        <p15:guide id="7" pos="2033">
          <p15:clr>
            <a:srgbClr val="F26B43"/>
          </p15:clr>
        </p15:guide>
        <p15:guide id="8" pos="56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3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31.jpg"/><Relationship Id="rId4" Type="http://schemas.openxmlformats.org/officeDocument/2006/relationships/image" Target="../media/image30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5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5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/>
          <p:cNvSpPr>
            <a:spLocks noGrp="1"/>
          </p:cNvSpPr>
          <p:nvPr>
            <p:ph type="ctrTitle"/>
          </p:nvPr>
        </p:nvSpPr>
        <p:spPr>
          <a:xfrm>
            <a:off x="363493" y="2302933"/>
            <a:ext cx="5732507" cy="2611967"/>
          </a:xfrm>
        </p:spPr>
        <p:txBody>
          <a:bodyPr/>
          <a:lstStyle/>
          <a:p>
            <a:r>
              <a:rPr lang="et-EE" dirty="0" err="1" smtClean="0"/>
              <a:t>DevOps</a:t>
            </a:r>
            <a:r>
              <a:rPr lang="et-EE" dirty="0" smtClean="0"/>
              <a:t> in</a:t>
            </a:r>
            <a:br>
              <a:rPr lang="et-EE" dirty="0" smtClean="0"/>
            </a:br>
            <a:r>
              <a:rPr lang="en-US" dirty="0" err="1" smtClean="0"/>
              <a:t>Telia</a:t>
            </a:r>
            <a:r>
              <a:rPr lang="en-US" dirty="0" smtClean="0"/>
              <a:t> </a:t>
            </a:r>
            <a:r>
              <a:rPr lang="et-EE" dirty="0" err="1" smtClean="0"/>
              <a:t>estonia</a:t>
            </a:r>
            <a:r>
              <a:rPr lang="et-EE" dirty="0" smtClean="0"/>
              <a:t/>
            </a:r>
            <a:br>
              <a:rPr lang="et-EE" dirty="0" smtClean="0"/>
            </a:br>
            <a:r>
              <a:rPr lang="et-EE" sz="2000" dirty="0"/>
              <a:t/>
            </a:r>
            <a:br>
              <a:rPr lang="et-EE" sz="2000" dirty="0"/>
            </a:br>
            <a:r>
              <a:rPr lang="en-US" sz="2800" b="1" i="1" dirty="0" smtClean="0"/>
              <a:t>You </a:t>
            </a:r>
            <a:r>
              <a:rPr lang="en-US" sz="2800" b="1" i="1" dirty="0"/>
              <a:t>build it, you run it</a:t>
            </a:r>
            <a:r>
              <a:rPr lang="en-US" dirty="0"/>
              <a:t/>
            </a:r>
            <a:br>
              <a:rPr lang="en-US" dirty="0"/>
            </a:br>
            <a:endParaRPr lang="en-GB" dirty="0"/>
          </a:p>
        </p:txBody>
      </p:sp>
      <p:sp>
        <p:nvSpPr>
          <p:cNvPr id="2" name="TextBox 1"/>
          <p:cNvSpPr txBox="1"/>
          <p:nvPr/>
        </p:nvSpPr>
        <p:spPr>
          <a:xfrm>
            <a:off x="581114" y="6152972"/>
            <a:ext cx="106439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t-EE" smtClean="0"/>
              <a:t>Greg Otsa</a:t>
            </a:r>
            <a:endParaRPr lang="et-EE" dirty="0" err="1" smtClean="0"/>
          </a:p>
        </p:txBody>
      </p:sp>
      <p:pic>
        <p:nvPicPr>
          <p:cNvPr id="13" name="Picture 4" descr="Pildiotsingu devops tulemu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4518" y="3486746"/>
            <a:ext cx="5791200" cy="2943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01630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999" y="184609"/>
            <a:ext cx="11112251" cy="1079500"/>
          </a:xfrm>
        </p:spPr>
        <p:txBody>
          <a:bodyPr/>
          <a:lstStyle/>
          <a:p>
            <a:r>
              <a:rPr lang="et-EE" dirty="0" err="1" smtClean="0"/>
              <a:t>Change</a:t>
            </a:r>
            <a:r>
              <a:rPr lang="et-EE" dirty="0" smtClean="0"/>
              <a:t> </a:t>
            </a:r>
            <a:r>
              <a:rPr lang="et-EE" smtClean="0"/>
              <a:t>of service team responsibilities -</a:t>
            </a:r>
            <a:br>
              <a:rPr lang="et-EE" smtClean="0"/>
            </a:br>
            <a:r>
              <a:rPr lang="et-EE" smtClean="0"/>
              <a:t>technical layer </a:t>
            </a:r>
            <a:r>
              <a:rPr lang="et-EE" dirty="0" err="1" smtClean="0"/>
              <a:t>view</a:t>
            </a:r>
            <a:endParaRPr lang="et-E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120DA3-0450-475B-96D0-AD38AE562DF8}" type="datetime1">
              <a:rPr lang="et-EE" smtClean="0"/>
              <a:t>10.12.2017</a:t>
            </a:fld>
            <a:endParaRPr lang="et-EE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6242589" y="1740877"/>
            <a:ext cx="5330529" cy="4406111"/>
          </a:xfrm>
        </p:spPr>
        <p:txBody>
          <a:bodyPr/>
          <a:lstStyle/>
          <a:p>
            <a:r>
              <a:rPr lang="et-EE" smtClean="0"/>
              <a:t>Very few </a:t>
            </a:r>
            <a:r>
              <a:rPr lang="et-EE" dirty="0" err="1" smtClean="0"/>
              <a:t>teams</a:t>
            </a:r>
            <a:r>
              <a:rPr lang="et-EE" dirty="0" smtClean="0"/>
              <a:t> </a:t>
            </a:r>
            <a:r>
              <a:rPr lang="et-EE" dirty="0" err="1" smtClean="0"/>
              <a:t>had</a:t>
            </a:r>
            <a:r>
              <a:rPr lang="et-EE" dirty="0" smtClean="0"/>
              <a:t> </a:t>
            </a:r>
            <a:r>
              <a:rPr lang="et-EE" dirty="0" err="1" smtClean="0"/>
              <a:t>responsibility</a:t>
            </a:r>
            <a:r>
              <a:rPr lang="et-EE" dirty="0" smtClean="0"/>
              <a:t> </a:t>
            </a:r>
            <a:r>
              <a:rPr lang="et-EE" dirty="0" err="1" smtClean="0"/>
              <a:t>for</a:t>
            </a:r>
            <a:r>
              <a:rPr lang="et-EE" dirty="0" smtClean="0"/>
              <a:t> OS, DB and APP </a:t>
            </a:r>
            <a:r>
              <a:rPr lang="et-EE" dirty="0" err="1" smtClean="0"/>
              <a:t>servers</a:t>
            </a:r>
            <a:r>
              <a:rPr lang="et-EE" dirty="0" smtClean="0"/>
              <a:t> (</a:t>
            </a:r>
            <a:r>
              <a:rPr lang="et-EE" dirty="0" err="1" smtClean="0"/>
              <a:t>tomcat</a:t>
            </a:r>
            <a:r>
              <a:rPr lang="et-EE" dirty="0" smtClean="0"/>
              <a:t>, </a:t>
            </a:r>
            <a:r>
              <a:rPr lang="et-EE" dirty="0" err="1" smtClean="0"/>
              <a:t>apache</a:t>
            </a:r>
            <a:r>
              <a:rPr lang="et-EE" dirty="0" smtClean="0"/>
              <a:t> </a:t>
            </a:r>
            <a:r>
              <a:rPr lang="et-EE" dirty="0" err="1" smtClean="0"/>
              <a:t>etc</a:t>
            </a:r>
            <a:r>
              <a:rPr lang="et-EE" dirty="0" smtClean="0"/>
              <a:t>) </a:t>
            </a:r>
            <a:r>
              <a:rPr lang="et-EE" dirty="0" err="1" smtClean="0"/>
              <a:t>before</a:t>
            </a:r>
            <a:r>
              <a:rPr lang="et-EE" dirty="0" smtClean="0"/>
              <a:t> </a:t>
            </a:r>
            <a:r>
              <a:rPr lang="et-EE" dirty="0" err="1" smtClean="0"/>
              <a:t>the</a:t>
            </a:r>
            <a:r>
              <a:rPr lang="et-EE" dirty="0" smtClean="0"/>
              <a:t> </a:t>
            </a:r>
            <a:r>
              <a:rPr lang="et-EE" dirty="0" err="1" smtClean="0"/>
              <a:t>DevOps</a:t>
            </a:r>
            <a:r>
              <a:rPr lang="et-EE" dirty="0" smtClean="0"/>
              <a:t> org. </a:t>
            </a:r>
            <a:r>
              <a:rPr lang="et-EE" dirty="0" err="1" smtClean="0"/>
              <a:t>change</a:t>
            </a:r>
            <a:endParaRPr lang="et-EE" dirty="0" smtClean="0"/>
          </a:p>
          <a:p>
            <a:r>
              <a:rPr lang="et-EE" dirty="0" err="1" smtClean="0"/>
              <a:t>During</a:t>
            </a:r>
            <a:r>
              <a:rPr lang="et-EE" dirty="0" smtClean="0"/>
              <a:t> </a:t>
            </a:r>
            <a:r>
              <a:rPr lang="et-EE" dirty="0" err="1" smtClean="0"/>
              <a:t>the</a:t>
            </a:r>
            <a:r>
              <a:rPr lang="et-EE" dirty="0" smtClean="0"/>
              <a:t> org. </a:t>
            </a:r>
            <a:r>
              <a:rPr lang="et-EE" dirty="0" err="1"/>
              <a:t>c</a:t>
            </a:r>
            <a:r>
              <a:rPr lang="et-EE" dirty="0" err="1" smtClean="0"/>
              <a:t>hange</a:t>
            </a:r>
            <a:r>
              <a:rPr lang="et-EE" dirty="0" smtClean="0"/>
              <a:t> all </a:t>
            </a:r>
            <a:r>
              <a:rPr lang="et-EE" dirty="0" err="1" smtClean="0"/>
              <a:t>teams</a:t>
            </a:r>
            <a:r>
              <a:rPr lang="et-EE" dirty="0" smtClean="0"/>
              <a:t> </a:t>
            </a:r>
            <a:r>
              <a:rPr lang="et-EE" dirty="0" err="1" smtClean="0"/>
              <a:t>had</a:t>
            </a:r>
            <a:r>
              <a:rPr lang="et-EE" dirty="0" smtClean="0"/>
              <a:t> </a:t>
            </a:r>
            <a:r>
              <a:rPr lang="et-EE" dirty="0" err="1" smtClean="0"/>
              <a:t>to</a:t>
            </a:r>
            <a:r>
              <a:rPr lang="et-EE" dirty="0" smtClean="0"/>
              <a:t> take </a:t>
            </a:r>
            <a:r>
              <a:rPr lang="et-EE" dirty="0" err="1" smtClean="0"/>
              <a:t>that</a:t>
            </a:r>
            <a:r>
              <a:rPr lang="et-EE" dirty="0" smtClean="0"/>
              <a:t> </a:t>
            </a:r>
            <a:r>
              <a:rPr lang="et-EE" dirty="0" err="1" smtClean="0"/>
              <a:t>responsibility</a:t>
            </a:r>
            <a:endParaRPr lang="et-EE" dirty="0" smtClean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999" y="1262277"/>
            <a:ext cx="7445893" cy="4997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37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Shape 2"/>
          <p:cNvSpPr txBox="1"/>
          <p:nvPr/>
        </p:nvSpPr>
        <p:spPr>
          <a:xfrm>
            <a:off x="721708" y="1049630"/>
            <a:ext cx="8223561" cy="469922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>
              <a:spcBef>
                <a:spcPts val="600"/>
              </a:spcBef>
              <a:buSzPct val="45000"/>
            </a:pPr>
            <a:r>
              <a:rPr lang="et-EE" sz="2902" dirty="0" err="1" smtClean="0">
                <a:latin typeface="Arial"/>
              </a:rPr>
              <a:t>The</a:t>
            </a:r>
            <a:r>
              <a:rPr lang="et-EE" sz="2902" dirty="0" smtClean="0">
                <a:latin typeface="Arial"/>
              </a:rPr>
              <a:t> </a:t>
            </a:r>
            <a:r>
              <a:rPr lang="et-EE" sz="2902" dirty="0" err="1">
                <a:latin typeface="Arial"/>
              </a:rPr>
              <a:t>w</a:t>
            </a:r>
            <a:r>
              <a:rPr lang="et-EE" sz="2902" dirty="0" err="1" smtClean="0">
                <a:latin typeface="Arial"/>
              </a:rPr>
              <a:t>hole</a:t>
            </a:r>
            <a:r>
              <a:rPr lang="en-US" sz="2902" dirty="0" smtClean="0">
                <a:latin typeface="Arial"/>
              </a:rPr>
              <a:t> stack (</a:t>
            </a:r>
            <a:r>
              <a:rPr lang="et-EE" sz="2902" dirty="0" smtClean="0">
                <a:latin typeface="Arial"/>
              </a:rPr>
              <a:t>Service, </a:t>
            </a:r>
            <a:r>
              <a:rPr lang="en-US" sz="2902" dirty="0" smtClean="0">
                <a:latin typeface="Arial"/>
              </a:rPr>
              <a:t>OS</a:t>
            </a:r>
            <a:r>
              <a:rPr lang="en-US" sz="2902" dirty="0">
                <a:latin typeface="Arial"/>
              </a:rPr>
              <a:t>, </a:t>
            </a:r>
            <a:r>
              <a:rPr lang="et-EE" sz="2902" dirty="0" smtClean="0">
                <a:latin typeface="Arial"/>
              </a:rPr>
              <a:t>DB</a:t>
            </a:r>
            <a:r>
              <a:rPr lang="en-US" sz="2902" dirty="0" smtClean="0">
                <a:latin typeface="Arial"/>
              </a:rPr>
              <a:t>, </a:t>
            </a:r>
            <a:r>
              <a:rPr lang="et-EE" sz="2902" dirty="0" smtClean="0">
                <a:latin typeface="Arial"/>
              </a:rPr>
              <a:t>APP)</a:t>
            </a:r>
            <a:r>
              <a:rPr lang="en-US" sz="2902" dirty="0" smtClean="0">
                <a:latin typeface="Arial"/>
              </a:rPr>
              <a:t>:</a:t>
            </a:r>
            <a:endParaRPr sz="1632" dirty="0"/>
          </a:p>
          <a:p>
            <a:pPr marL="914400" lvl="1" indent="-457200"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</a:pPr>
            <a:r>
              <a:rPr lang="en-US" sz="2539" dirty="0">
                <a:latin typeface="Arial"/>
              </a:rPr>
              <a:t>design, architecture, documentation</a:t>
            </a:r>
            <a:endParaRPr sz="1632" dirty="0"/>
          </a:p>
          <a:p>
            <a:pPr marL="914400" lvl="1" indent="-457200"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</a:pPr>
            <a:r>
              <a:rPr lang="en-US" sz="2539" dirty="0">
                <a:latin typeface="Arial"/>
              </a:rPr>
              <a:t>development, implementation, QA</a:t>
            </a:r>
            <a:endParaRPr sz="1632" dirty="0"/>
          </a:p>
          <a:p>
            <a:pPr marL="914400" lvl="1" indent="-457200"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</a:pPr>
            <a:r>
              <a:rPr lang="en-US" sz="2539" dirty="0">
                <a:latin typeface="Arial"/>
              </a:rPr>
              <a:t>performance, availability, latency</a:t>
            </a:r>
            <a:endParaRPr sz="1632" dirty="0"/>
          </a:p>
          <a:p>
            <a:pPr marL="914400" lvl="1" indent="-457200"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</a:pPr>
            <a:r>
              <a:rPr lang="en-US" sz="2539" dirty="0">
                <a:latin typeface="Arial"/>
              </a:rPr>
              <a:t>capacity planning, </a:t>
            </a:r>
            <a:r>
              <a:rPr lang="en-US" sz="2539" dirty="0" smtClean="0">
                <a:latin typeface="Arial"/>
              </a:rPr>
              <a:t>efficiency</a:t>
            </a:r>
            <a:endParaRPr sz="1632" dirty="0"/>
          </a:p>
          <a:p>
            <a:pPr marL="914400" lvl="1" indent="-457200"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</a:pPr>
            <a:r>
              <a:rPr lang="en-US" sz="2539" dirty="0">
                <a:latin typeface="Arial"/>
              </a:rPr>
              <a:t>change management</a:t>
            </a:r>
            <a:endParaRPr sz="1632" dirty="0"/>
          </a:p>
          <a:p>
            <a:pPr marL="914400" lvl="1" indent="-457200"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</a:pPr>
            <a:r>
              <a:rPr lang="en-US" sz="2539" dirty="0">
                <a:latin typeface="Arial"/>
              </a:rPr>
              <a:t>metrics, monitoring, logging</a:t>
            </a:r>
            <a:endParaRPr sz="1632" dirty="0"/>
          </a:p>
          <a:p>
            <a:pPr marL="914400" lvl="1" indent="-457200"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</a:pPr>
            <a:r>
              <a:rPr lang="en-US" sz="2539" dirty="0">
                <a:latin typeface="Arial"/>
              </a:rPr>
              <a:t>on-call emergency response</a:t>
            </a:r>
            <a:endParaRPr sz="1632" dirty="0"/>
          </a:p>
          <a:p>
            <a:pPr marL="914400" lvl="1" indent="-457200"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</a:pPr>
            <a:r>
              <a:rPr lang="en-US" sz="2539" dirty="0">
                <a:latin typeface="Arial"/>
              </a:rPr>
              <a:t>security</a:t>
            </a:r>
            <a:endParaRPr sz="1632" dirty="0"/>
          </a:p>
          <a:p>
            <a:pPr marL="914400" lvl="1" indent="-457200"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</a:pPr>
            <a:r>
              <a:rPr lang="et-EE" sz="2539" dirty="0" smtClean="0">
                <a:latin typeface="Arial"/>
              </a:rPr>
              <a:t>l</a:t>
            </a:r>
            <a:r>
              <a:rPr lang="en-US" sz="2539" dirty="0" err="1" smtClean="0">
                <a:latin typeface="Arial"/>
              </a:rPr>
              <a:t>ifecycle</a:t>
            </a:r>
            <a:endParaRPr lang="et-EE" sz="2539" dirty="0" smtClean="0">
              <a:latin typeface="Arial"/>
            </a:endParaRPr>
          </a:p>
          <a:p>
            <a:pPr marL="914400" lvl="1" indent="-457200"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</a:pPr>
            <a:r>
              <a:rPr lang="et-EE" sz="2539" dirty="0" err="1">
                <a:latin typeface="Arial"/>
              </a:rPr>
              <a:t>c</a:t>
            </a:r>
            <a:r>
              <a:rPr lang="et-EE" sz="2539" dirty="0" err="1" smtClean="0">
                <a:latin typeface="Arial"/>
              </a:rPr>
              <a:t>ost</a:t>
            </a:r>
            <a:endParaRPr lang="et-EE" sz="2539" dirty="0" smtClean="0">
              <a:latin typeface="Arial"/>
            </a:endParaRPr>
          </a:p>
          <a:p>
            <a:pPr marL="914400" lvl="1" indent="-457200"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</a:pPr>
            <a:r>
              <a:rPr lang="et-EE" sz="2539" dirty="0" err="1">
                <a:latin typeface="Arial"/>
              </a:rPr>
              <a:t>q</a:t>
            </a:r>
            <a:r>
              <a:rPr lang="et-EE" sz="2539" dirty="0" err="1" smtClean="0">
                <a:latin typeface="Arial"/>
              </a:rPr>
              <a:t>uality</a:t>
            </a:r>
            <a:endParaRPr sz="1632" dirty="0"/>
          </a:p>
        </p:txBody>
      </p:sp>
      <p:sp>
        <p:nvSpPr>
          <p:cNvPr id="4" name="Title 2"/>
          <p:cNvSpPr txBox="1">
            <a:spLocks/>
          </p:cNvSpPr>
          <p:nvPr/>
        </p:nvSpPr>
        <p:spPr bwMode="auto">
          <a:xfrm>
            <a:off x="503423" y="319133"/>
            <a:ext cx="10728101" cy="1128245"/>
          </a:xfrm>
          <a:prstGeom prst="roundRect">
            <a:avLst>
              <a:gd name="adj" fmla="val 7778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9pPr>
          </a:lstStyle>
          <a:p>
            <a:r>
              <a:rPr lang="et-EE" sz="3467" kern="0" cap="all" dirty="0" err="1" smtClean="0"/>
              <a:t>Devops</a:t>
            </a:r>
            <a:r>
              <a:rPr lang="et-EE" sz="3467" kern="0" cap="all" dirty="0" smtClean="0"/>
              <a:t> </a:t>
            </a:r>
            <a:r>
              <a:rPr lang="et-EE" sz="3467" kern="0" cap="all" dirty="0" err="1" smtClean="0"/>
              <a:t>Team</a:t>
            </a:r>
            <a:r>
              <a:rPr lang="et-EE" sz="3467" kern="0" cap="all" dirty="0" smtClean="0"/>
              <a:t> </a:t>
            </a:r>
            <a:r>
              <a:rPr lang="et-EE" sz="3467" kern="0" cap="all" dirty="0" err="1" smtClean="0"/>
              <a:t>responsibilities</a:t>
            </a:r>
            <a:endParaRPr lang="et-EE" sz="2600" kern="0" cap="all" dirty="0"/>
          </a:p>
          <a:p>
            <a:endParaRPr lang="et-EE" sz="2400" b="1" kern="0" cap="all" dirty="0" smtClean="0"/>
          </a:p>
        </p:txBody>
      </p:sp>
    </p:spTree>
    <p:extLst>
      <p:ext uri="{BB962C8B-B14F-4D97-AF65-F5344CB8AC3E}">
        <p14:creationId xmlns:p14="http://schemas.microsoft.com/office/powerpoint/2010/main" val="202262152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Shape 2"/>
          <p:cNvSpPr txBox="1"/>
          <p:nvPr/>
        </p:nvSpPr>
        <p:spPr>
          <a:xfrm>
            <a:off x="730839" y="1346794"/>
            <a:ext cx="10697560" cy="469922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marL="457200" indent="-457200"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</a:pPr>
            <a:r>
              <a:rPr lang="et-EE" sz="2800" dirty="0" err="1" smtClean="0">
                <a:latin typeface="Arial"/>
              </a:rPr>
              <a:t>Teams</a:t>
            </a:r>
            <a:r>
              <a:rPr lang="et-EE" sz="2800" dirty="0" smtClean="0">
                <a:latin typeface="Arial"/>
              </a:rPr>
              <a:t> </a:t>
            </a:r>
            <a:r>
              <a:rPr lang="et-EE" sz="2800" dirty="0" err="1" smtClean="0">
                <a:latin typeface="Arial"/>
              </a:rPr>
              <a:t>still</a:t>
            </a:r>
            <a:r>
              <a:rPr lang="et-EE" sz="2800" dirty="0" smtClean="0">
                <a:latin typeface="Arial"/>
              </a:rPr>
              <a:t> </a:t>
            </a:r>
            <a:r>
              <a:rPr lang="et-EE" sz="2800" dirty="0" err="1" smtClean="0">
                <a:latin typeface="Arial"/>
              </a:rPr>
              <a:t>use</a:t>
            </a:r>
            <a:r>
              <a:rPr lang="et-EE" sz="2800" dirty="0" smtClean="0">
                <a:latin typeface="Arial"/>
              </a:rPr>
              <a:t> </a:t>
            </a:r>
            <a:r>
              <a:rPr lang="et-EE" sz="2800" dirty="0" err="1" smtClean="0">
                <a:latin typeface="Arial"/>
              </a:rPr>
              <a:t>common</a:t>
            </a:r>
            <a:r>
              <a:rPr lang="et-EE" sz="2800" dirty="0" smtClean="0">
                <a:latin typeface="Arial"/>
              </a:rPr>
              <a:t> </a:t>
            </a:r>
            <a:r>
              <a:rPr lang="et-EE" sz="2800" dirty="0" err="1" smtClean="0">
                <a:latin typeface="Arial"/>
              </a:rPr>
              <a:t>infrastructure</a:t>
            </a:r>
            <a:endParaRPr lang="et-EE" sz="2800" dirty="0" smtClean="0">
              <a:latin typeface="Arial"/>
            </a:endParaRPr>
          </a:p>
          <a:p>
            <a:pPr marL="914400" lvl="1" indent="-457200"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</a:pPr>
            <a:r>
              <a:rPr lang="et-EE" sz="2400" dirty="0" err="1"/>
              <a:t>C</a:t>
            </a:r>
            <a:r>
              <a:rPr lang="et-EE" sz="2400" dirty="0" err="1" smtClean="0"/>
              <a:t>ompute</a:t>
            </a:r>
            <a:r>
              <a:rPr lang="et-EE" sz="2400" dirty="0" smtClean="0"/>
              <a:t>, </a:t>
            </a:r>
            <a:r>
              <a:rPr lang="et-EE" sz="2400" dirty="0" err="1" smtClean="0"/>
              <a:t>storage</a:t>
            </a:r>
            <a:r>
              <a:rPr lang="et-EE" sz="2400" dirty="0" smtClean="0"/>
              <a:t>, </a:t>
            </a:r>
            <a:r>
              <a:rPr lang="et-EE" sz="2400" dirty="0" err="1"/>
              <a:t>n</a:t>
            </a:r>
            <a:r>
              <a:rPr lang="et-EE" sz="2400" dirty="0" err="1" smtClean="0"/>
              <a:t>etwork</a:t>
            </a:r>
            <a:r>
              <a:rPr lang="et-EE" sz="2400" dirty="0" smtClean="0"/>
              <a:t>, </a:t>
            </a:r>
            <a:r>
              <a:rPr lang="et-EE" sz="2400" dirty="0" err="1" smtClean="0"/>
              <a:t>virtualization</a:t>
            </a:r>
            <a:r>
              <a:rPr lang="et-EE" sz="2400" dirty="0" smtClean="0"/>
              <a:t>, </a:t>
            </a:r>
            <a:r>
              <a:rPr lang="et-EE" sz="2400" dirty="0" err="1" smtClean="0"/>
              <a:t>containers</a:t>
            </a:r>
            <a:endParaRPr lang="et-EE" sz="2400" dirty="0" smtClean="0"/>
          </a:p>
          <a:p>
            <a:pPr marL="914400" lvl="1" indent="-457200"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</a:pPr>
            <a:r>
              <a:rPr lang="et-EE" sz="2400" dirty="0" err="1" smtClean="0"/>
              <a:t>Monitoring</a:t>
            </a:r>
            <a:r>
              <a:rPr lang="et-EE" sz="2400" dirty="0" smtClean="0"/>
              <a:t>, </a:t>
            </a:r>
            <a:r>
              <a:rPr lang="et-EE" sz="2400" dirty="0" err="1" smtClean="0"/>
              <a:t>logging</a:t>
            </a:r>
            <a:r>
              <a:rPr lang="et-EE" sz="2400" dirty="0" smtClean="0"/>
              <a:t>, </a:t>
            </a:r>
            <a:r>
              <a:rPr lang="et-EE" sz="2400" dirty="0" err="1" smtClean="0"/>
              <a:t>backup</a:t>
            </a:r>
            <a:endParaRPr lang="et-EE" sz="2400" dirty="0" smtClean="0"/>
          </a:p>
          <a:p>
            <a:pPr marL="457200" indent="-457200"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</a:pPr>
            <a:r>
              <a:rPr lang="et-EE" sz="2400" dirty="0" smtClean="0"/>
              <a:t>N-TIER (NFR) </a:t>
            </a:r>
            <a:r>
              <a:rPr lang="et-EE" sz="2400" dirty="0" err="1" smtClean="0"/>
              <a:t>map</a:t>
            </a:r>
            <a:r>
              <a:rPr lang="et-EE" sz="2400" dirty="0" smtClean="0"/>
              <a:t> </a:t>
            </a:r>
            <a:r>
              <a:rPr lang="et-EE" sz="2400" dirty="0" err="1" smtClean="0"/>
              <a:t>governs</a:t>
            </a:r>
            <a:r>
              <a:rPr lang="et-EE" sz="2400" dirty="0" smtClean="0"/>
              <a:t> </a:t>
            </a:r>
            <a:r>
              <a:rPr lang="et-EE" sz="2400" dirty="0" err="1" smtClean="0"/>
              <a:t>usable</a:t>
            </a:r>
            <a:r>
              <a:rPr lang="et-EE" sz="2400" dirty="0" smtClean="0"/>
              <a:t> </a:t>
            </a:r>
            <a:r>
              <a:rPr lang="et-EE" sz="2400" dirty="0" err="1" smtClean="0"/>
              <a:t>technologies</a:t>
            </a:r>
            <a:endParaRPr lang="et-EE" sz="2400" dirty="0" smtClean="0"/>
          </a:p>
          <a:p>
            <a:pPr marL="457200" indent="-457200"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</a:pPr>
            <a:r>
              <a:rPr lang="et-EE" sz="2400" dirty="0" err="1" smtClean="0"/>
              <a:t>Reuse</a:t>
            </a:r>
            <a:r>
              <a:rPr lang="et-EE" sz="2400" dirty="0" smtClean="0"/>
              <a:t> </a:t>
            </a:r>
            <a:r>
              <a:rPr lang="et-EE" sz="2400" dirty="0" err="1" smtClean="0"/>
              <a:t>as</a:t>
            </a:r>
            <a:r>
              <a:rPr lang="et-EE" sz="2400" dirty="0" smtClean="0"/>
              <a:t> </a:t>
            </a:r>
            <a:r>
              <a:rPr lang="et-EE" sz="2400" dirty="0" err="1" smtClean="0"/>
              <a:t>much</a:t>
            </a:r>
            <a:r>
              <a:rPr lang="et-EE" sz="2400" dirty="0" smtClean="0"/>
              <a:t> </a:t>
            </a:r>
            <a:r>
              <a:rPr lang="et-EE" sz="2400" dirty="0" err="1" smtClean="0"/>
              <a:t>as</a:t>
            </a:r>
            <a:r>
              <a:rPr lang="et-EE" sz="2400" dirty="0" smtClean="0"/>
              <a:t> </a:t>
            </a:r>
            <a:r>
              <a:rPr lang="et-EE" sz="2400" dirty="0" err="1" smtClean="0"/>
              <a:t>possible</a:t>
            </a:r>
            <a:r>
              <a:rPr lang="et-EE" sz="2400" dirty="0" smtClean="0"/>
              <a:t>, </a:t>
            </a:r>
            <a:r>
              <a:rPr lang="et-EE" sz="2400" dirty="0" err="1" smtClean="0"/>
              <a:t>integrate</a:t>
            </a:r>
            <a:r>
              <a:rPr lang="et-EE" sz="2400" dirty="0" smtClean="0"/>
              <a:t> </a:t>
            </a:r>
            <a:r>
              <a:rPr lang="et-EE" sz="2400" dirty="0" err="1" smtClean="0"/>
              <a:t>if</a:t>
            </a:r>
            <a:r>
              <a:rPr lang="et-EE" sz="2400" dirty="0" smtClean="0"/>
              <a:t> </a:t>
            </a:r>
            <a:r>
              <a:rPr lang="et-EE" sz="2400" dirty="0" err="1" smtClean="0"/>
              <a:t>possible</a:t>
            </a:r>
            <a:endParaRPr lang="et-EE" sz="2400" dirty="0" smtClean="0"/>
          </a:p>
          <a:p>
            <a:pPr marL="457200" indent="-457200"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</a:pPr>
            <a:r>
              <a:rPr lang="et-EE" sz="2400" dirty="0" err="1" smtClean="0"/>
              <a:t>We</a:t>
            </a:r>
            <a:r>
              <a:rPr lang="et-EE" sz="2400" dirty="0" smtClean="0"/>
              <a:t> </a:t>
            </a:r>
            <a:r>
              <a:rPr lang="et-EE" sz="2400" dirty="0" err="1" smtClean="0"/>
              <a:t>don’t</a:t>
            </a:r>
            <a:r>
              <a:rPr lang="et-EE" sz="2400" dirty="0" smtClean="0"/>
              <a:t> </a:t>
            </a:r>
            <a:r>
              <a:rPr lang="et-EE" sz="2400" dirty="0" err="1" smtClean="0"/>
              <a:t>have</a:t>
            </a:r>
            <a:r>
              <a:rPr lang="et-EE" sz="2400" dirty="0" smtClean="0"/>
              <a:t> </a:t>
            </a:r>
            <a:r>
              <a:rPr lang="et-EE" sz="2400" dirty="0" err="1" smtClean="0"/>
              <a:t>to</a:t>
            </a:r>
            <a:r>
              <a:rPr lang="et-EE" sz="2400" dirty="0" smtClean="0"/>
              <a:t> </a:t>
            </a:r>
            <a:r>
              <a:rPr lang="et-EE" sz="2400" dirty="0" err="1" smtClean="0"/>
              <a:t>create</a:t>
            </a:r>
            <a:r>
              <a:rPr lang="et-EE" sz="2400" dirty="0" smtClean="0"/>
              <a:t> </a:t>
            </a:r>
            <a:r>
              <a:rPr lang="et-EE" sz="2400" dirty="0" err="1" smtClean="0"/>
              <a:t>everything</a:t>
            </a:r>
            <a:r>
              <a:rPr lang="et-EE" sz="2400" dirty="0" smtClean="0"/>
              <a:t> </a:t>
            </a:r>
            <a:r>
              <a:rPr lang="et-EE" sz="2400" dirty="0" err="1" smtClean="0"/>
              <a:t>ourself</a:t>
            </a:r>
            <a:endParaRPr lang="et-EE" sz="2400" dirty="0" smtClean="0"/>
          </a:p>
          <a:p>
            <a:pPr marL="914400" lvl="1" indent="-457200"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</a:pPr>
            <a:r>
              <a:rPr lang="et-EE" sz="2400" dirty="0" err="1" smtClean="0"/>
              <a:t>Use</a:t>
            </a:r>
            <a:r>
              <a:rPr lang="et-EE" sz="2400" dirty="0" smtClean="0"/>
              <a:t> </a:t>
            </a:r>
            <a:r>
              <a:rPr lang="et-EE" sz="2400" dirty="0" err="1" smtClean="0"/>
              <a:t>cloud</a:t>
            </a:r>
            <a:r>
              <a:rPr lang="et-EE" sz="2400" dirty="0"/>
              <a:t> </a:t>
            </a:r>
            <a:r>
              <a:rPr lang="et-EE" sz="2400" dirty="0" smtClean="0"/>
              <a:t>SAAS!</a:t>
            </a:r>
          </a:p>
          <a:p>
            <a:pPr marL="914400" lvl="1" indent="-457200">
              <a:spcBef>
                <a:spcPts val="600"/>
              </a:spcBef>
              <a:buSzPct val="75000"/>
              <a:buFont typeface="Arial" panose="020B0604020202020204" pitchFamily="34" charset="0"/>
              <a:buChar char="•"/>
            </a:pPr>
            <a:r>
              <a:rPr lang="et-EE" sz="2400" dirty="0" smtClean="0"/>
              <a:t>IAAS, PAAS </a:t>
            </a:r>
            <a:r>
              <a:rPr lang="et-EE" sz="2400" dirty="0" err="1" smtClean="0"/>
              <a:t>do</a:t>
            </a:r>
            <a:r>
              <a:rPr lang="et-EE" sz="2400" dirty="0" smtClean="0"/>
              <a:t> </a:t>
            </a:r>
            <a:r>
              <a:rPr lang="et-EE" sz="2400" dirty="0" err="1" smtClean="0"/>
              <a:t>not</a:t>
            </a:r>
            <a:r>
              <a:rPr lang="et-EE" sz="2400" dirty="0" smtClean="0"/>
              <a:t> </a:t>
            </a:r>
            <a:r>
              <a:rPr lang="et-EE" sz="2400" dirty="0" err="1" smtClean="0"/>
              <a:t>make</a:t>
            </a:r>
            <a:r>
              <a:rPr lang="et-EE" sz="2400" dirty="0" smtClean="0"/>
              <a:t> </a:t>
            </a:r>
            <a:r>
              <a:rPr lang="et-EE" sz="2400" dirty="0" err="1" smtClean="0"/>
              <a:t>sense</a:t>
            </a:r>
            <a:r>
              <a:rPr lang="et-EE" sz="2400" dirty="0" smtClean="0"/>
              <a:t>, </a:t>
            </a:r>
            <a:r>
              <a:rPr lang="et-EE" sz="2400" dirty="0" err="1" smtClean="0"/>
              <a:t>we</a:t>
            </a:r>
            <a:r>
              <a:rPr lang="et-EE" sz="2400" dirty="0" smtClean="0"/>
              <a:t> </a:t>
            </a:r>
            <a:r>
              <a:rPr lang="et-EE" sz="2400" dirty="0" err="1" smtClean="0"/>
              <a:t>know</a:t>
            </a:r>
            <a:r>
              <a:rPr lang="et-EE" sz="2400" dirty="0" smtClean="0"/>
              <a:t> </a:t>
            </a:r>
            <a:r>
              <a:rPr lang="et-EE" sz="2400" dirty="0" err="1" smtClean="0"/>
              <a:t>how</a:t>
            </a:r>
            <a:r>
              <a:rPr lang="et-EE" sz="2400" dirty="0" smtClean="0"/>
              <a:t> </a:t>
            </a:r>
            <a:r>
              <a:rPr lang="et-EE" sz="2400" dirty="0" err="1" smtClean="0"/>
              <a:t>to</a:t>
            </a:r>
            <a:r>
              <a:rPr lang="et-EE" sz="2400" dirty="0" smtClean="0"/>
              <a:t> </a:t>
            </a:r>
            <a:r>
              <a:rPr lang="et-EE" sz="2400" dirty="0" err="1" smtClean="0"/>
              <a:t>build</a:t>
            </a:r>
            <a:r>
              <a:rPr lang="et-EE" sz="2400" dirty="0" smtClean="0"/>
              <a:t> </a:t>
            </a:r>
            <a:r>
              <a:rPr lang="et-EE" sz="2400" dirty="0" err="1" smtClean="0"/>
              <a:t>these</a:t>
            </a:r>
            <a:endParaRPr lang="et-EE" sz="2400" dirty="0" smtClean="0"/>
          </a:p>
          <a:p>
            <a:pPr marL="457200" indent="-457200">
              <a:spcBef>
                <a:spcPts val="600"/>
              </a:spcBef>
              <a:buSzPct val="75000"/>
              <a:buFont typeface="Wingdings" panose="05000000000000000000" pitchFamily="2" charset="2"/>
              <a:buChar char="ü"/>
            </a:pPr>
            <a:endParaRPr sz="2400" dirty="0"/>
          </a:p>
        </p:txBody>
      </p:sp>
      <p:sp>
        <p:nvSpPr>
          <p:cNvPr id="4" name="Title 2"/>
          <p:cNvSpPr txBox="1">
            <a:spLocks/>
          </p:cNvSpPr>
          <p:nvPr/>
        </p:nvSpPr>
        <p:spPr bwMode="auto">
          <a:xfrm>
            <a:off x="503423" y="319133"/>
            <a:ext cx="10728101" cy="1128245"/>
          </a:xfrm>
          <a:prstGeom prst="roundRect">
            <a:avLst>
              <a:gd name="adj" fmla="val 7778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9pPr>
          </a:lstStyle>
          <a:p>
            <a:r>
              <a:rPr lang="et-EE" sz="3467" kern="0" cap="all" dirty="0" smtClean="0"/>
              <a:t>ORDER IN CHAOS?</a:t>
            </a:r>
            <a:endParaRPr lang="et-EE" sz="2600" kern="0" cap="all" dirty="0"/>
          </a:p>
          <a:p>
            <a:endParaRPr lang="et-EE" sz="2400" b="1" kern="0" cap="all" dirty="0" smtClean="0"/>
          </a:p>
        </p:txBody>
      </p:sp>
    </p:spTree>
    <p:extLst>
      <p:ext uri="{BB962C8B-B14F-4D97-AF65-F5344CB8AC3E}">
        <p14:creationId xmlns:p14="http://schemas.microsoft.com/office/powerpoint/2010/main" val="320610115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smtClean="0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8163" y="274393"/>
            <a:ext cx="11112251" cy="1079500"/>
          </a:xfrm>
        </p:spPr>
        <p:txBody>
          <a:bodyPr/>
          <a:lstStyle/>
          <a:p>
            <a:r>
              <a:rPr lang="et-EE" dirty="0" err="1" smtClean="0"/>
              <a:t>Devops</a:t>
            </a:r>
            <a:r>
              <a:rPr lang="et-EE" dirty="0" smtClean="0"/>
              <a:t> </a:t>
            </a:r>
            <a:r>
              <a:rPr lang="et-EE" dirty="0" err="1" smtClean="0"/>
              <a:t>implementation</a:t>
            </a:r>
            <a:r>
              <a:rPr lang="et-EE" dirty="0" smtClean="0"/>
              <a:t> </a:t>
            </a:r>
            <a:r>
              <a:rPr lang="et-EE" dirty="0" err="1" smtClean="0"/>
              <a:t>kickoff</a:t>
            </a:r>
            <a:r>
              <a:rPr lang="et-EE" dirty="0" smtClean="0"/>
              <a:t> in </a:t>
            </a:r>
            <a:r>
              <a:rPr lang="et-EE" dirty="0" err="1" smtClean="0"/>
              <a:t>july</a:t>
            </a:r>
            <a:r>
              <a:rPr lang="et-EE" dirty="0" smtClean="0"/>
              <a:t> 2016:</a:t>
            </a:r>
            <a:br>
              <a:rPr lang="et-EE" dirty="0" smtClean="0"/>
            </a:br>
            <a:r>
              <a:rPr lang="et-EE" dirty="0" smtClean="0"/>
              <a:t>New </a:t>
            </a:r>
            <a:r>
              <a:rPr lang="et-EE" dirty="0" err="1" smtClean="0"/>
              <a:t>teams</a:t>
            </a:r>
            <a:r>
              <a:rPr lang="et-EE" dirty="0" smtClean="0"/>
              <a:t> and </a:t>
            </a:r>
            <a:r>
              <a:rPr lang="et-EE" dirty="0" err="1" smtClean="0"/>
              <a:t>service</a:t>
            </a:r>
            <a:r>
              <a:rPr lang="et-EE" dirty="0" smtClean="0"/>
              <a:t> </a:t>
            </a:r>
            <a:r>
              <a:rPr lang="et-EE" dirty="0" err="1" smtClean="0"/>
              <a:t>handovers</a:t>
            </a:r>
            <a:endParaRPr lang="et-E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538163" y="1444046"/>
            <a:ext cx="11114087" cy="4610827"/>
          </a:xfrm>
        </p:spPr>
        <p:txBody>
          <a:bodyPr/>
          <a:lstStyle/>
          <a:p>
            <a:r>
              <a:rPr lang="et-EE" sz="1800" dirty="0" err="1" smtClean="0"/>
              <a:t>Starting</a:t>
            </a:r>
            <a:r>
              <a:rPr lang="et-EE" sz="1800" dirty="0" smtClean="0"/>
              <a:t> </a:t>
            </a:r>
            <a:r>
              <a:rPr lang="et-EE" sz="1800" dirty="0" err="1" smtClean="0"/>
              <a:t>position</a:t>
            </a:r>
            <a:r>
              <a:rPr lang="et-EE" sz="1800" dirty="0" smtClean="0"/>
              <a:t>: </a:t>
            </a:r>
            <a:r>
              <a:rPr lang="et-EE" sz="1800" dirty="0" err="1" smtClean="0"/>
              <a:t>Dev</a:t>
            </a:r>
            <a:r>
              <a:rPr lang="et-EE" sz="1800" dirty="0" smtClean="0"/>
              <a:t> and </a:t>
            </a:r>
            <a:r>
              <a:rPr lang="et-EE" sz="1800" dirty="0" err="1" smtClean="0"/>
              <a:t>Ops</a:t>
            </a:r>
            <a:r>
              <a:rPr lang="et-EE" sz="1800" dirty="0" smtClean="0"/>
              <a:t> silos + </a:t>
            </a:r>
            <a:r>
              <a:rPr lang="et-EE" sz="1800" dirty="0" err="1" smtClean="0"/>
              <a:t>Infra</a:t>
            </a:r>
            <a:r>
              <a:rPr lang="et-EE" sz="1800" dirty="0" smtClean="0"/>
              <a:t> </a:t>
            </a:r>
            <a:r>
              <a:rPr lang="et-EE" sz="1800" dirty="0" err="1" smtClean="0"/>
              <a:t>teams</a:t>
            </a:r>
            <a:r>
              <a:rPr lang="et-EE" sz="1800" dirty="0" smtClean="0"/>
              <a:t>. </a:t>
            </a:r>
            <a:r>
              <a:rPr lang="et-EE" sz="1800" dirty="0" err="1" smtClean="0"/>
              <a:t>Scope</a:t>
            </a:r>
            <a:r>
              <a:rPr lang="et-EE" sz="1800" dirty="0" smtClean="0"/>
              <a:t> of </a:t>
            </a:r>
            <a:r>
              <a:rPr lang="et-EE" sz="1800" dirty="0" err="1" smtClean="0"/>
              <a:t>chance</a:t>
            </a:r>
            <a:r>
              <a:rPr lang="et-EE" sz="1800" dirty="0" smtClean="0"/>
              <a:t>: ca 300 </a:t>
            </a:r>
            <a:r>
              <a:rPr lang="et-EE" sz="1800" dirty="0" err="1" smtClean="0"/>
              <a:t>people</a:t>
            </a:r>
            <a:r>
              <a:rPr lang="et-EE" sz="1800" dirty="0" smtClean="0"/>
              <a:t> of 450 in </a:t>
            </a:r>
            <a:r>
              <a:rPr lang="et-EE" sz="1800" dirty="0" err="1" smtClean="0"/>
              <a:t>Tech</a:t>
            </a:r>
            <a:endParaRPr lang="et-EE" sz="1800" dirty="0" smtClean="0"/>
          </a:p>
          <a:p>
            <a:r>
              <a:rPr lang="et-EE" sz="1800" smtClean="0"/>
              <a:t>New teams were created and all </a:t>
            </a:r>
            <a:r>
              <a:rPr lang="et-EE" sz="1800" dirty="0" err="1" smtClean="0"/>
              <a:t>the</a:t>
            </a:r>
            <a:r>
              <a:rPr lang="et-EE" sz="1800" dirty="0" smtClean="0"/>
              <a:t> </a:t>
            </a:r>
            <a:r>
              <a:rPr lang="et-EE" sz="1800" dirty="0" err="1" smtClean="0"/>
              <a:t>devops</a:t>
            </a:r>
            <a:r>
              <a:rPr lang="et-EE" sz="1800" dirty="0" smtClean="0"/>
              <a:t> </a:t>
            </a:r>
            <a:r>
              <a:rPr lang="et-EE" sz="1800" dirty="0" err="1" smtClean="0"/>
              <a:t>teamlead</a:t>
            </a:r>
            <a:r>
              <a:rPr lang="et-EE" sz="1800" dirty="0" smtClean="0"/>
              <a:t> </a:t>
            </a:r>
            <a:r>
              <a:rPr lang="et-EE" sz="1800" dirty="0" err="1" smtClean="0"/>
              <a:t>positions</a:t>
            </a:r>
            <a:r>
              <a:rPr lang="et-EE" sz="1800" dirty="0" smtClean="0"/>
              <a:t> </a:t>
            </a:r>
            <a:r>
              <a:rPr lang="et-EE" sz="1800" dirty="0" err="1" smtClean="0"/>
              <a:t>became</a:t>
            </a:r>
            <a:r>
              <a:rPr lang="et-EE" sz="1800" dirty="0" smtClean="0"/>
              <a:t> </a:t>
            </a:r>
            <a:r>
              <a:rPr lang="et-EE" sz="1800" dirty="0" err="1" smtClean="0"/>
              <a:t>vacant</a:t>
            </a:r>
            <a:endParaRPr lang="et-EE" sz="1800" dirty="0" smtClean="0"/>
          </a:p>
          <a:p>
            <a:r>
              <a:rPr lang="et-EE" sz="1800" dirty="0" err="1" smtClean="0"/>
              <a:t>Most</a:t>
            </a:r>
            <a:r>
              <a:rPr lang="et-EE" sz="1800" dirty="0" smtClean="0"/>
              <a:t> of </a:t>
            </a:r>
            <a:r>
              <a:rPr lang="et-EE" sz="1800" dirty="0" err="1" smtClean="0"/>
              <a:t>the</a:t>
            </a:r>
            <a:r>
              <a:rPr lang="et-EE" sz="1800" dirty="0" smtClean="0"/>
              <a:t> </a:t>
            </a:r>
            <a:r>
              <a:rPr lang="et-EE" sz="1800" dirty="0" err="1" smtClean="0"/>
              <a:t>former</a:t>
            </a:r>
            <a:r>
              <a:rPr lang="et-EE" sz="1800" dirty="0" smtClean="0"/>
              <a:t> </a:t>
            </a:r>
            <a:r>
              <a:rPr lang="et-EE" sz="1800" dirty="0" err="1" smtClean="0"/>
              <a:t>dev</a:t>
            </a:r>
            <a:r>
              <a:rPr lang="et-EE" sz="1800" dirty="0" smtClean="0"/>
              <a:t> </a:t>
            </a:r>
            <a:r>
              <a:rPr lang="et-EE" sz="1800" dirty="0" err="1" smtClean="0"/>
              <a:t>or</a:t>
            </a:r>
            <a:r>
              <a:rPr lang="et-EE" sz="1800" dirty="0" smtClean="0"/>
              <a:t> </a:t>
            </a:r>
            <a:r>
              <a:rPr lang="et-EE" sz="1800" dirty="0" err="1" smtClean="0"/>
              <a:t>ops</a:t>
            </a:r>
            <a:r>
              <a:rPr lang="et-EE" sz="1800" dirty="0" smtClean="0"/>
              <a:t> </a:t>
            </a:r>
            <a:r>
              <a:rPr lang="et-EE" sz="1800" dirty="0" err="1" smtClean="0"/>
              <a:t>teamleads</a:t>
            </a:r>
            <a:r>
              <a:rPr lang="et-EE" sz="1800" dirty="0" smtClean="0"/>
              <a:t> </a:t>
            </a:r>
            <a:r>
              <a:rPr lang="et-EE" sz="1800" dirty="0" err="1" smtClean="0"/>
              <a:t>became</a:t>
            </a:r>
            <a:r>
              <a:rPr lang="et-EE" sz="1800" dirty="0" smtClean="0"/>
              <a:t> a </a:t>
            </a:r>
            <a:r>
              <a:rPr lang="et-EE" sz="1800" dirty="0" err="1" smtClean="0"/>
              <a:t>devops</a:t>
            </a:r>
            <a:r>
              <a:rPr lang="et-EE" sz="1800" dirty="0" smtClean="0"/>
              <a:t> </a:t>
            </a:r>
            <a:r>
              <a:rPr lang="et-EE" sz="1800" dirty="0" err="1" smtClean="0"/>
              <a:t>teamlead</a:t>
            </a:r>
            <a:endParaRPr lang="et-EE" sz="1800" dirty="0" smtClean="0"/>
          </a:p>
          <a:p>
            <a:r>
              <a:rPr lang="et-EE" sz="1800" dirty="0" err="1" smtClean="0"/>
              <a:t>After</a:t>
            </a:r>
            <a:r>
              <a:rPr lang="et-EE" sz="1800" dirty="0" smtClean="0"/>
              <a:t> </a:t>
            </a:r>
            <a:r>
              <a:rPr lang="et-EE" sz="1800" dirty="0" err="1" smtClean="0"/>
              <a:t>that</a:t>
            </a:r>
            <a:r>
              <a:rPr lang="et-EE" sz="1800" dirty="0" smtClean="0"/>
              <a:t> </a:t>
            </a:r>
            <a:r>
              <a:rPr lang="et-EE" sz="1800" dirty="0" err="1" smtClean="0"/>
              <a:t>we</a:t>
            </a:r>
            <a:r>
              <a:rPr lang="et-EE" sz="1800" dirty="0" smtClean="0"/>
              <a:t> </a:t>
            </a:r>
            <a:r>
              <a:rPr lang="et-EE" sz="1800" dirty="0" err="1" smtClean="0"/>
              <a:t>started</a:t>
            </a:r>
            <a:r>
              <a:rPr lang="et-EE" sz="1800" dirty="0" smtClean="0"/>
              <a:t> </a:t>
            </a:r>
            <a:r>
              <a:rPr lang="et-EE" sz="1800" dirty="0" err="1" smtClean="0"/>
              <a:t>an</a:t>
            </a:r>
            <a:r>
              <a:rPr lang="et-EE" sz="1800" dirty="0" smtClean="0"/>
              <a:t> </a:t>
            </a:r>
            <a:r>
              <a:rPr lang="et-EE" sz="1800" dirty="0" err="1" smtClean="0"/>
              <a:t>extensive</a:t>
            </a:r>
            <a:r>
              <a:rPr lang="et-EE" sz="1800" dirty="0" smtClean="0"/>
              <a:t> programme </a:t>
            </a:r>
            <a:r>
              <a:rPr lang="et-EE" sz="1800" dirty="0" err="1" smtClean="0"/>
              <a:t>to</a:t>
            </a:r>
            <a:r>
              <a:rPr lang="et-EE" sz="1800" dirty="0" smtClean="0"/>
              <a:t> </a:t>
            </a:r>
            <a:r>
              <a:rPr lang="et-EE" sz="1800" dirty="0" err="1" smtClean="0"/>
              <a:t>achieve</a:t>
            </a:r>
            <a:r>
              <a:rPr lang="et-EE" sz="1800" dirty="0" smtClean="0"/>
              <a:t> </a:t>
            </a:r>
            <a:r>
              <a:rPr lang="et-EE" sz="1800" dirty="0" err="1" smtClean="0"/>
              <a:t>reasonable</a:t>
            </a:r>
            <a:r>
              <a:rPr lang="et-EE" sz="1800" dirty="0" smtClean="0"/>
              <a:t> </a:t>
            </a:r>
            <a:r>
              <a:rPr lang="et-EE" sz="1800" dirty="0" err="1" smtClean="0"/>
              <a:t>basic</a:t>
            </a:r>
            <a:r>
              <a:rPr lang="et-EE" sz="1800" dirty="0" smtClean="0"/>
              <a:t> standard of </a:t>
            </a:r>
            <a:r>
              <a:rPr lang="et-EE" sz="1800" dirty="0" err="1" smtClean="0"/>
              <a:t>knowledge</a:t>
            </a:r>
            <a:r>
              <a:rPr lang="et-EE" sz="1800" dirty="0" smtClean="0"/>
              <a:t> and </a:t>
            </a:r>
            <a:r>
              <a:rPr lang="et-EE" sz="1800" dirty="0" err="1" smtClean="0"/>
              <a:t>situation</a:t>
            </a:r>
            <a:r>
              <a:rPr lang="et-EE" sz="1800" dirty="0" smtClean="0"/>
              <a:t> </a:t>
            </a:r>
            <a:r>
              <a:rPr lang="et-EE" sz="1800" dirty="0" err="1" smtClean="0"/>
              <a:t>mapping</a:t>
            </a:r>
            <a:r>
              <a:rPr lang="et-EE" sz="1800" dirty="0" smtClean="0"/>
              <a:t> in </a:t>
            </a:r>
            <a:r>
              <a:rPr lang="et-EE" sz="1800" dirty="0" err="1" smtClean="0"/>
              <a:t>teams</a:t>
            </a:r>
            <a:endParaRPr lang="et-EE" sz="1800" dirty="0" smtClean="0"/>
          </a:p>
          <a:p>
            <a:pPr lvl="1"/>
            <a:r>
              <a:rPr lang="et-EE" sz="1400" dirty="0" err="1" smtClean="0"/>
              <a:t>Specialists</a:t>
            </a:r>
            <a:r>
              <a:rPr lang="et-EE" sz="1400" dirty="0" smtClean="0"/>
              <a:t> and </a:t>
            </a:r>
            <a:r>
              <a:rPr lang="et-EE" sz="1400" dirty="0" err="1" smtClean="0"/>
              <a:t>their</a:t>
            </a:r>
            <a:r>
              <a:rPr lang="et-EE" sz="1400" dirty="0" smtClean="0"/>
              <a:t> </a:t>
            </a:r>
            <a:r>
              <a:rPr lang="et-EE" sz="1400" dirty="0" err="1" smtClean="0"/>
              <a:t>roles</a:t>
            </a:r>
            <a:endParaRPr lang="et-EE" sz="1400" dirty="0" smtClean="0"/>
          </a:p>
          <a:p>
            <a:pPr lvl="1"/>
            <a:r>
              <a:rPr lang="et-EE" sz="1400" dirty="0" err="1" smtClean="0"/>
              <a:t>Services</a:t>
            </a:r>
            <a:endParaRPr lang="et-EE" sz="1400" dirty="0" smtClean="0"/>
          </a:p>
          <a:p>
            <a:pPr lvl="1"/>
            <a:r>
              <a:rPr lang="et-EE" sz="1400" dirty="0" err="1" smtClean="0"/>
              <a:t>Vendors</a:t>
            </a:r>
            <a:r>
              <a:rPr lang="et-EE" sz="1400" dirty="0" smtClean="0"/>
              <a:t> </a:t>
            </a:r>
          </a:p>
          <a:p>
            <a:pPr lvl="1"/>
            <a:r>
              <a:rPr lang="et-EE" sz="1400" dirty="0" err="1" smtClean="0"/>
              <a:t>Governance</a:t>
            </a:r>
            <a:r>
              <a:rPr lang="et-EE" sz="1400" dirty="0" smtClean="0"/>
              <a:t> </a:t>
            </a:r>
            <a:r>
              <a:rPr lang="et-EE" sz="1400" dirty="0" err="1" smtClean="0"/>
              <a:t>model</a:t>
            </a:r>
            <a:r>
              <a:rPr lang="et-EE" sz="1400" dirty="0" smtClean="0"/>
              <a:t> </a:t>
            </a:r>
            <a:r>
              <a:rPr lang="et-EE" sz="1400" dirty="0" err="1" smtClean="0"/>
              <a:t>with</a:t>
            </a:r>
            <a:r>
              <a:rPr lang="et-EE" sz="1400" dirty="0" smtClean="0"/>
              <a:t> </a:t>
            </a:r>
            <a:r>
              <a:rPr lang="et-EE" sz="1400" dirty="0" err="1" smtClean="0"/>
              <a:t>business</a:t>
            </a:r>
            <a:r>
              <a:rPr lang="et-EE" sz="1400" dirty="0" smtClean="0"/>
              <a:t> </a:t>
            </a:r>
            <a:r>
              <a:rPr lang="et-EE" sz="1400" dirty="0" err="1" smtClean="0"/>
              <a:t>etc</a:t>
            </a:r>
            <a:endParaRPr lang="et-EE" sz="1400" dirty="0" smtClean="0"/>
          </a:p>
          <a:p>
            <a:r>
              <a:rPr lang="et-EE" sz="1800" dirty="0" err="1" smtClean="0"/>
              <a:t>Priority</a:t>
            </a:r>
            <a:r>
              <a:rPr lang="et-EE" sz="1800" dirty="0" smtClean="0"/>
              <a:t> 1 </a:t>
            </a:r>
            <a:r>
              <a:rPr lang="et-EE" sz="1800" dirty="0" err="1" smtClean="0"/>
              <a:t>initative</a:t>
            </a:r>
            <a:r>
              <a:rPr lang="et-EE" sz="1800" dirty="0" smtClean="0"/>
              <a:t> in </a:t>
            </a:r>
            <a:r>
              <a:rPr lang="et-EE" sz="1800" dirty="0" err="1" smtClean="0"/>
              <a:t>technology</a:t>
            </a:r>
            <a:r>
              <a:rPr lang="et-EE" sz="1800" dirty="0" smtClean="0"/>
              <a:t> </a:t>
            </a:r>
            <a:r>
              <a:rPr lang="et-EE" sz="1800" dirty="0" err="1" smtClean="0"/>
              <a:t>unit</a:t>
            </a:r>
            <a:endParaRPr lang="et-EE" sz="1800" dirty="0"/>
          </a:p>
          <a:p>
            <a:r>
              <a:rPr lang="et-EE" sz="1800" dirty="0" err="1" smtClean="0"/>
              <a:t>Teamleads</a:t>
            </a:r>
            <a:r>
              <a:rPr lang="et-EE" sz="1800" dirty="0" smtClean="0"/>
              <a:t> </a:t>
            </a:r>
            <a:r>
              <a:rPr lang="et-EE" sz="1800" dirty="0" err="1" smtClean="0"/>
              <a:t>reported</a:t>
            </a:r>
            <a:r>
              <a:rPr lang="et-EE" sz="1800" dirty="0" smtClean="0"/>
              <a:t> </a:t>
            </a:r>
            <a:r>
              <a:rPr lang="et-EE" sz="1800" dirty="0" err="1" smtClean="0"/>
              <a:t>weekly</a:t>
            </a:r>
            <a:r>
              <a:rPr lang="et-EE" sz="1800" dirty="0" smtClean="0"/>
              <a:t> on </a:t>
            </a:r>
            <a:r>
              <a:rPr lang="et-EE" sz="1800" dirty="0" err="1" smtClean="0"/>
              <a:t>the</a:t>
            </a:r>
            <a:r>
              <a:rPr lang="et-EE" sz="1800" dirty="0" smtClean="0"/>
              <a:t> progress in </a:t>
            </a:r>
            <a:r>
              <a:rPr lang="et-EE" sz="1800" dirty="0" err="1" smtClean="0"/>
              <a:t>one</a:t>
            </a:r>
            <a:r>
              <a:rPr lang="et-EE" sz="1800" dirty="0" smtClean="0"/>
              <a:t> </a:t>
            </a:r>
            <a:r>
              <a:rPr lang="et-EE" sz="1800" dirty="0" err="1" smtClean="0"/>
              <a:t>common</a:t>
            </a:r>
            <a:r>
              <a:rPr lang="et-EE" sz="1800" dirty="0" smtClean="0"/>
              <a:t> </a:t>
            </a:r>
            <a:r>
              <a:rPr lang="et-EE" sz="1800" dirty="0" err="1" smtClean="0"/>
              <a:t>forum</a:t>
            </a:r>
            <a:endParaRPr lang="et-EE" sz="1800" dirty="0" smtClean="0"/>
          </a:p>
          <a:p>
            <a:r>
              <a:rPr lang="et-EE" sz="1800" dirty="0" err="1" smtClean="0"/>
              <a:t>Agressive</a:t>
            </a:r>
            <a:r>
              <a:rPr lang="et-EE" sz="1800" dirty="0" smtClean="0"/>
              <a:t> </a:t>
            </a:r>
            <a:r>
              <a:rPr lang="et-EE" sz="1800" dirty="0" err="1" smtClean="0"/>
              <a:t>handover</a:t>
            </a:r>
            <a:r>
              <a:rPr lang="et-EE" sz="1800" dirty="0" smtClean="0"/>
              <a:t> programme </a:t>
            </a:r>
            <a:r>
              <a:rPr lang="et-EE" sz="1800" dirty="0" err="1" smtClean="0"/>
              <a:t>between</a:t>
            </a:r>
            <a:r>
              <a:rPr lang="et-EE" sz="1800" dirty="0" smtClean="0"/>
              <a:t> </a:t>
            </a:r>
            <a:r>
              <a:rPr lang="et-EE" sz="1800" dirty="0" err="1" smtClean="0"/>
              <a:t>the</a:t>
            </a:r>
            <a:r>
              <a:rPr lang="et-EE" sz="1800" dirty="0" smtClean="0"/>
              <a:t> </a:t>
            </a:r>
            <a:r>
              <a:rPr lang="et-EE" sz="1800" dirty="0" err="1" smtClean="0"/>
              <a:t>teams</a:t>
            </a:r>
            <a:r>
              <a:rPr lang="et-EE" sz="1800" dirty="0" smtClean="0"/>
              <a:t> (</a:t>
            </a:r>
            <a:r>
              <a:rPr lang="et-EE" sz="1800" dirty="0" err="1" smtClean="0"/>
              <a:t>out</a:t>
            </a:r>
            <a:r>
              <a:rPr lang="et-EE" sz="1800" dirty="0" smtClean="0"/>
              <a:t> of ca 1000 </a:t>
            </a:r>
            <a:r>
              <a:rPr lang="et-EE" sz="1800" dirty="0" err="1" smtClean="0"/>
              <a:t>app</a:t>
            </a:r>
            <a:r>
              <a:rPr lang="et-EE" sz="1800" dirty="0" smtClean="0"/>
              <a:t> </a:t>
            </a:r>
            <a:r>
              <a:rPr lang="et-EE" sz="1800" dirty="0" err="1" smtClean="0"/>
              <a:t>instances</a:t>
            </a:r>
            <a:r>
              <a:rPr lang="et-EE" sz="1800" dirty="0" smtClean="0"/>
              <a:t> 300-500 </a:t>
            </a:r>
            <a:r>
              <a:rPr lang="et-EE" sz="1800" dirty="0" err="1" smtClean="0"/>
              <a:t>moved</a:t>
            </a:r>
            <a:r>
              <a:rPr lang="et-EE" sz="1800" dirty="0" smtClean="0"/>
              <a:t> </a:t>
            </a:r>
            <a:r>
              <a:rPr lang="et-EE" sz="1800" dirty="0" err="1" smtClean="0"/>
              <a:t>between</a:t>
            </a:r>
            <a:r>
              <a:rPr lang="et-EE" sz="1800" dirty="0" smtClean="0"/>
              <a:t> </a:t>
            </a:r>
            <a:r>
              <a:rPr lang="et-EE" sz="1800" dirty="0" err="1" smtClean="0"/>
              <a:t>teams</a:t>
            </a:r>
            <a:r>
              <a:rPr lang="et-EE" sz="1800" dirty="0" smtClean="0"/>
              <a:t>)</a:t>
            </a:r>
          </a:p>
          <a:p>
            <a:r>
              <a:rPr lang="et-EE" sz="1800" dirty="0" err="1" smtClean="0"/>
              <a:t>After</a:t>
            </a:r>
            <a:r>
              <a:rPr lang="et-EE" sz="1800" dirty="0" smtClean="0"/>
              <a:t> </a:t>
            </a:r>
            <a:r>
              <a:rPr lang="et-EE" sz="1800" dirty="0" err="1" smtClean="0"/>
              <a:t>the</a:t>
            </a:r>
            <a:r>
              <a:rPr lang="et-EE" sz="1800" dirty="0" smtClean="0"/>
              <a:t> </a:t>
            </a:r>
            <a:r>
              <a:rPr lang="et-EE" sz="1800" dirty="0" err="1" smtClean="0"/>
              <a:t>common</a:t>
            </a:r>
            <a:r>
              <a:rPr lang="et-EE" sz="1800" dirty="0" smtClean="0"/>
              <a:t> </a:t>
            </a:r>
            <a:r>
              <a:rPr lang="et-EE" sz="1800" dirty="0" err="1" smtClean="0"/>
              <a:t>basic</a:t>
            </a:r>
            <a:r>
              <a:rPr lang="et-EE" sz="1800" dirty="0" smtClean="0"/>
              <a:t> </a:t>
            </a:r>
            <a:r>
              <a:rPr lang="et-EE" sz="1800" dirty="0" err="1" smtClean="0"/>
              <a:t>level</a:t>
            </a:r>
            <a:r>
              <a:rPr lang="et-EE" sz="1800" dirty="0" smtClean="0"/>
              <a:t> </a:t>
            </a:r>
            <a:r>
              <a:rPr lang="et-EE" sz="1800" dirty="0" err="1" smtClean="0"/>
              <a:t>was</a:t>
            </a:r>
            <a:r>
              <a:rPr lang="et-EE" sz="1800" dirty="0" smtClean="0"/>
              <a:t> </a:t>
            </a:r>
            <a:r>
              <a:rPr lang="et-EE" sz="1800" dirty="0" err="1" smtClean="0"/>
              <a:t>achieved</a:t>
            </a:r>
            <a:r>
              <a:rPr lang="et-EE" sz="1800" dirty="0" smtClean="0"/>
              <a:t> </a:t>
            </a:r>
            <a:r>
              <a:rPr lang="et-EE" sz="1800" dirty="0" err="1" smtClean="0"/>
              <a:t>the</a:t>
            </a:r>
            <a:r>
              <a:rPr lang="et-EE" sz="1800" dirty="0" smtClean="0"/>
              <a:t> </a:t>
            </a:r>
            <a:r>
              <a:rPr lang="et-EE" sz="1800" dirty="0" err="1" smtClean="0"/>
              <a:t>central</a:t>
            </a:r>
            <a:r>
              <a:rPr lang="et-EE" sz="1800" dirty="0" smtClean="0"/>
              <a:t> </a:t>
            </a:r>
            <a:r>
              <a:rPr lang="et-EE" sz="1800" dirty="0" err="1" smtClean="0"/>
              <a:t>control</a:t>
            </a:r>
            <a:r>
              <a:rPr lang="et-EE" sz="1800" dirty="0" smtClean="0"/>
              <a:t> </a:t>
            </a:r>
            <a:r>
              <a:rPr lang="et-EE" sz="1800" dirty="0" err="1" smtClean="0"/>
              <a:t>was</a:t>
            </a:r>
            <a:r>
              <a:rPr lang="et-EE" sz="1800" dirty="0" smtClean="0"/>
              <a:t> </a:t>
            </a:r>
            <a:r>
              <a:rPr lang="et-EE" sz="1800" dirty="0" err="1" smtClean="0"/>
              <a:t>loosened</a:t>
            </a:r>
            <a:endParaRPr lang="et-EE" dirty="0"/>
          </a:p>
        </p:txBody>
      </p:sp>
    </p:spTree>
    <p:extLst>
      <p:ext uri="{BB962C8B-B14F-4D97-AF65-F5344CB8AC3E}">
        <p14:creationId xmlns:p14="http://schemas.microsoft.com/office/powerpoint/2010/main" val="267347157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78098" y="340843"/>
            <a:ext cx="10633239" cy="489721"/>
          </a:xfrm>
        </p:spPr>
        <p:txBody>
          <a:bodyPr/>
          <a:lstStyle/>
          <a:p>
            <a:r>
              <a:rPr lang="et-EE" dirty="0" err="1" smtClean="0"/>
              <a:t>Any</a:t>
            </a:r>
            <a:r>
              <a:rPr lang="et-EE" dirty="0" smtClean="0"/>
              <a:t> </a:t>
            </a:r>
            <a:r>
              <a:rPr lang="et-EE" dirty="0" err="1" smtClean="0"/>
              <a:t>problems</a:t>
            </a:r>
            <a:r>
              <a:rPr lang="et-EE" dirty="0" smtClean="0"/>
              <a:t>?</a:t>
            </a:r>
            <a:endParaRPr lang="et-EE" dirty="0"/>
          </a:p>
        </p:txBody>
      </p:sp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971999" y="1697359"/>
            <a:ext cx="9895848" cy="4144356"/>
          </a:xfrm>
          <a:prstGeom prst="roundRect">
            <a:avLst>
              <a:gd name="adj" fmla="val 2278"/>
            </a:avLst>
          </a:prstGeom>
        </p:spPr>
        <p:txBody>
          <a:bodyPr/>
          <a:lstStyle/>
          <a:p>
            <a:r>
              <a:rPr lang="et-EE" dirty="0" err="1" smtClean="0"/>
              <a:t>The</a:t>
            </a:r>
            <a:r>
              <a:rPr lang="et-EE" dirty="0" smtClean="0"/>
              <a:t> </a:t>
            </a:r>
            <a:r>
              <a:rPr lang="et-EE" dirty="0" err="1" smtClean="0"/>
              <a:t>teams</a:t>
            </a:r>
            <a:r>
              <a:rPr lang="et-EE" dirty="0" smtClean="0"/>
              <a:t> </a:t>
            </a:r>
            <a:r>
              <a:rPr lang="et-EE" dirty="0" err="1" smtClean="0"/>
              <a:t>cooperated</a:t>
            </a:r>
            <a:r>
              <a:rPr lang="et-EE" dirty="0" smtClean="0"/>
              <a:t>, </a:t>
            </a:r>
            <a:r>
              <a:rPr lang="et-EE" dirty="0" err="1" smtClean="0"/>
              <a:t>the</a:t>
            </a:r>
            <a:r>
              <a:rPr lang="et-EE" dirty="0" smtClean="0"/>
              <a:t> </a:t>
            </a:r>
            <a:r>
              <a:rPr lang="et-EE" dirty="0" err="1" smtClean="0"/>
              <a:t>tasks</a:t>
            </a:r>
            <a:r>
              <a:rPr lang="et-EE" dirty="0" smtClean="0"/>
              <a:t> </a:t>
            </a:r>
            <a:r>
              <a:rPr lang="et-EE" dirty="0" err="1" smtClean="0"/>
              <a:t>were</a:t>
            </a:r>
            <a:r>
              <a:rPr lang="et-EE" dirty="0" smtClean="0"/>
              <a:t> </a:t>
            </a:r>
            <a:r>
              <a:rPr lang="et-EE" dirty="0" err="1" smtClean="0"/>
              <a:t>progressing</a:t>
            </a:r>
            <a:endParaRPr lang="et-EE" dirty="0" smtClean="0"/>
          </a:p>
          <a:p>
            <a:r>
              <a:rPr lang="et-EE" dirty="0" err="1" smtClean="0"/>
              <a:t>But</a:t>
            </a:r>
            <a:r>
              <a:rPr lang="et-EE" dirty="0" smtClean="0"/>
              <a:t> </a:t>
            </a:r>
            <a:r>
              <a:rPr lang="et-EE" dirty="0" err="1" smtClean="0"/>
              <a:t>they</a:t>
            </a:r>
            <a:r>
              <a:rPr lang="et-EE" dirty="0" smtClean="0"/>
              <a:t> </a:t>
            </a:r>
            <a:r>
              <a:rPr lang="et-EE" dirty="0" err="1" smtClean="0"/>
              <a:t>were</a:t>
            </a:r>
            <a:r>
              <a:rPr lang="et-EE" dirty="0" smtClean="0"/>
              <a:t> </a:t>
            </a:r>
            <a:r>
              <a:rPr lang="et-EE" dirty="0" err="1" smtClean="0"/>
              <a:t>doing</a:t>
            </a:r>
            <a:r>
              <a:rPr lang="et-EE" dirty="0" smtClean="0"/>
              <a:t> </a:t>
            </a:r>
            <a:r>
              <a:rPr lang="et-EE" dirty="0" err="1" smtClean="0"/>
              <a:t>it</a:t>
            </a:r>
            <a:r>
              <a:rPr lang="et-EE" dirty="0" smtClean="0"/>
              <a:t> </a:t>
            </a:r>
            <a:r>
              <a:rPr lang="et-EE" dirty="0" err="1" smtClean="0"/>
              <a:t>because</a:t>
            </a:r>
            <a:r>
              <a:rPr lang="et-EE" dirty="0" smtClean="0"/>
              <a:t> </a:t>
            </a:r>
            <a:r>
              <a:rPr lang="et-EE" dirty="0" err="1" smtClean="0"/>
              <a:t>they</a:t>
            </a:r>
            <a:r>
              <a:rPr lang="et-EE" dirty="0" smtClean="0"/>
              <a:t> </a:t>
            </a:r>
            <a:r>
              <a:rPr lang="et-EE" dirty="0" err="1" smtClean="0"/>
              <a:t>were</a:t>
            </a:r>
            <a:r>
              <a:rPr lang="et-EE" dirty="0" smtClean="0"/>
              <a:t> </a:t>
            </a:r>
            <a:r>
              <a:rPr lang="et-EE" dirty="0" err="1" smtClean="0"/>
              <a:t>asked</a:t>
            </a:r>
            <a:r>
              <a:rPr lang="et-EE" dirty="0" smtClean="0"/>
              <a:t> </a:t>
            </a:r>
            <a:r>
              <a:rPr lang="et-EE" dirty="0" err="1" smtClean="0"/>
              <a:t>to</a:t>
            </a:r>
            <a:r>
              <a:rPr lang="et-EE" dirty="0" smtClean="0"/>
              <a:t> </a:t>
            </a:r>
            <a:r>
              <a:rPr lang="et-EE" dirty="0" err="1" smtClean="0"/>
              <a:t>do</a:t>
            </a:r>
            <a:r>
              <a:rPr lang="et-EE" dirty="0" smtClean="0"/>
              <a:t> </a:t>
            </a:r>
            <a:r>
              <a:rPr lang="et-EE" dirty="0" err="1" smtClean="0"/>
              <a:t>it</a:t>
            </a:r>
            <a:r>
              <a:rPr lang="et-EE" dirty="0" smtClean="0"/>
              <a:t>, </a:t>
            </a:r>
            <a:r>
              <a:rPr lang="et-EE" dirty="0" err="1" smtClean="0"/>
              <a:t>not</a:t>
            </a:r>
            <a:r>
              <a:rPr lang="et-EE" dirty="0" smtClean="0"/>
              <a:t> </a:t>
            </a:r>
            <a:r>
              <a:rPr lang="et-EE" dirty="0" err="1" smtClean="0"/>
              <a:t>because</a:t>
            </a:r>
            <a:r>
              <a:rPr lang="et-EE" dirty="0" smtClean="0"/>
              <a:t> </a:t>
            </a:r>
            <a:r>
              <a:rPr lang="et-EE" dirty="0" err="1" smtClean="0"/>
              <a:t>they</a:t>
            </a:r>
            <a:r>
              <a:rPr lang="et-EE" dirty="0" smtClean="0"/>
              <a:t> </a:t>
            </a:r>
            <a:r>
              <a:rPr lang="et-EE" dirty="0" err="1" smtClean="0"/>
              <a:t>wanted</a:t>
            </a:r>
            <a:r>
              <a:rPr lang="et-EE" dirty="0" smtClean="0"/>
              <a:t> </a:t>
            </a:r>
            <a:r>
              <a:rPr lang="et-EE" dirty="0" err="1" smtClean="0"/>
              <a:t>to</a:t>
            </a:r>
            <a:r>
              <a:rPr lang="et-EE" dirty="0" smtClean="0"/>
              <a:t> </a:t>
            </a:r>
            <a:r>
              <a:rPr lang="et-EE" dirty="0" err="1" smtClean="0"/>
              <a:t>do</a:t>
            </a:r>
            <a:r>
              <a:rPr lang="et-EE" dirty="0" smtClean="0"/>
              <a:t> </a:t>
            </a:r>
            <a:r>
              <a:rPr lang="et-EE" dirty="0" err="1" smtClean="0"/>
              <a:t>it</a:t>
            </a:r>
            <a:endParaRPr lang="et-EE" dirty="0" smtClean="0"/>
          </a:p>
          <a:p>
            <a:r>
              <a:rPr lang="et-EE" dirty="0" err="1" smtClean="0"/>
              <a:t>It</a:t>
            </a:r>
            <a:r>
              <a:rPr lang="et-EE" dirty="0" smtClean="0"/>
              <a:t> took </a:t>
            </a:r>
            <a:r>
              <a:rPr lang="et-EE" dirty="0" err="1" smtClean="0"/>
              <a:t>almost</a:t>
            </a:r>
            <a:r>
              <a:rPr lang="et-EE" dirty="0" smtClean="0"/>
              <a:t> </a:t>
            </a:r>
            <a:r>
              <a:rPr lang="et-EE" dirty="0" err="1" smtClean="0"/>
              <a:t>half</a:t>
            </a:r>
            <a:r>
              <a:rPr lang="et-EE" dirty="0" smtClean="0"/>
              <a:t> a </a:t>
            </a:r>
            <a:r>
              <a:rPr lang="et-EE" dirty="0" err="1" smtClean="0"/>
              <a:t>year</a:t>
            </a:r>
            <a:r>
              <a:rPr lang="et-EE" dirty="0" smtClean="0"/>
              <a:t> of </a:t>
            </a:r>
            <a:r>
              <a:rPr lang="et-EE" dirty="0" err="1" smtClean="0"/>
              <a:t>constant</a:t>
            </a:r>
            <a:r>
              <a:rPr lang="et-EE" dirty="0" smtClean="0"/>
              <a:t> </a:t>
            </a:r>
            <a:r>
              <a:rPr lang="et-EE" dirty="0" err="1" smtClean="0"/>
              <a:t>discussions</a:t>
            </a:r>
            <a:r>
              <a:rPr lang="et-EE" dirty="0" smtClean="0"/>
              <a:t>, </a:t>
            </a:r>
            <a:r>
              <a:rPr lang="et-EE" dirty="0" err="1" smtClean="0"/>
              <a:t>persuasion</a:t>
            </a:r>
            <a:r>
              <a:rPr lang="et-EE" dirty="0" smtClean="0"/>
              <a:t> </a:t>
            </a:r>
            <a:r>
              <a:rPr lang="et-EE" dirty="0" err="1" smtClean="0"/>
              <a:t>etc</a:t>
            </a:r>
            <a:r>
              <a:rPr lang="et-EE" dirty="0" smtClean="0"/>
              <a:t> </a:t>
            </a:r>
            <a:r>
              <a:rPr lang="et-EE" dirty="0" err="1" smtClean="0"/>
              <a:t>during</a:t>
            </a:r>
            <a:r>
              <a:rPr lang="et-EE" dirty="0" smtClean="0"/>
              <a:t> </a:t>
            </a:r>
            <a:r>
              <a:rPr lang="et-EE" dirty="0" err="1" smtClean="0"/>
              <a:t>the</a:t>
            </a:r>
            <a:r>
              <a:rPr lang="et-EE" dirty="0" smtClean="0"/>
              <a:t> </a:t>
            </a:r>
            <a:r>
              <a:rPr lang="et-EE" dirty="0" err="1" smtClean="0"/>
              <a:t>implementation</a:t>
            </a:r>
            <a:r>
              <a:rPr lang="et-EE" dirty="0" smtClean="0"/>
              <a:t> </a:t>
            </a:r>
            <a:r>
              <a:rPr lang="et-EE" dirty="0" err="1" smtClean="0"/>
              <a:t>for</a:t>
            </a:r>
            <a:r>
              <a:rPr lang="et-EE" dirty="0" smtClean="0"/>
              <a:t> </a:t>
            </a:r>
            <a:r>
              <a:rPr lang="et-EE" dirty="0" err="1" smtClean="0"/>
              <a:t>the</a:t>
            </a:r>
            <a:r>
              <a:rPr lang="et-EE" dirty="0" smtClean="0"/>
              <a:t> real </a:t>
            </a:r>
            <a:r>
              <a:rPr lang="et-EE" dirty="0" err="1" smtClean="0"/>
              <a:t>buy</a:t>
            </a:r>
            <a:r>
              <a:rPr lang="et-EE" dirty="0" smtClean="0"/>
              <a:t>-in</a:t>
            </a:r>
          </a:p>
          <a:p>
            <a:r>
              <a:rPr lang="et-EE" dirty="0" smtClean="0"/>
              <a:t>„Pull-</a:t>
            </a:r>
            <a:r>
              <a:rPr lang="et-EE" dirty="0" err="1" smtClean="0"/>
              <a:t>method</a:t>
            </a:r>
            <a:r>
              <a:rPr lang="et-EE" dirty="0" smtClean="0"/>
              <a:t>“ </a:t>
            </a:r>
            <a:r>
              <a:rPr lang="et-EE" dirty="0" err="1" smtClean="0"/>
              <a:t>method</a:t>
            </a:r>
            <a:r>
              <a:rPr lang="et-EE" dirty="0" smtClean="0"/>
              <a:t> instead of „</a:t>
            </a:r>
            <a:r>
              <a:rPr lang="et-EE" dirty="0" err="1" smtClean="0"/>
              <a:t>push-method</a:t>
            </a:r>
            <a:r>
              <a:rPr lang="et-EE" dirty="0" smtClean="0"/>
              <a:t>“</a:t>
            </a:r>
          </a:p>
          <a:p>
            <a:r>
              <a:rPr lang="et-EE" dirty="0" err="1" smtClean="0"/>
              <a:t>Then</a:t>
            </a:r>
            <a:r>
              <a:rPr lang="et-EE" dirty="0" smtClean="0"/>
              <a:t> </a:t>
            </a:r>
            <a:r>
              <a:rPr lang="et-EE" dirty="0" err="1" smtClean="0"/>
              <a:t>it</a:t>
            </a:r>
            <a:r>
              <a:rPr lang="et-EE" dirty="0" smtClean="0"/>
              <a:t> </a:t>
            </a:r>
            <a:r>
              <a:rPr lang="et-EE" dirty="0" err="1" smtClean="0"/>
              <a:t>became</a:t>
            </a:r>
            <a:r>
              <a:rPr lang="et-EE" dirty="0" smtClean="0"/>
              <a:t> „</a:t>
            </a:r>
            <a:r>
              <a:rPr lang="et-EE" dirty="0" err="1" smtClean="0"/>
              <a:t>our</a:t>
            </a:r>
            <a:r>
              <a:rPr lang="et-EE" dirty="0" smtClean="0"/>
              <a:t>“ </a:t>
            </a:r>
            <a:r>
              <a:rPr lang="et-EE" dirty="0" err="1" smtClean="0"/>
              <a:t>thing</a:t>
            </a:r>
            <a:r>
              <a:rPr lang="et-EE" sz="1600" dirty="0" smtClean="0"/>
              <a:t/>
            </a:r>
            <a:br>
              <a:rPr lang="et-EE" sz="1600" dirty="0" smtClean="0"/>
            </a:br>
            <a:endParaRPr lang="et-EE" sz="1200" dirty="0" smtClean="0"/>
          </a:p>
          <a:p>
            <a:pPr marL="614363" lvl="2" indent="-342900">
              <a:buFont typeface="+mj-lt"/>
              <a:buAutoNum type="arabicPeriod"/>
            </a:pPr>
            <a:endParaRPr lang="en-GB" sz="1400" dirty="0"/>
          </a:p>
          <a:p>
            <a:pPr fontAlgn="ctr"/>
            <a:endParaRPr lang="et-EE" dirty="0" smtClean="0"/>
          </a:p>
          <a:p>
            <a:pPr fontAlgn="ctr"/>
            <a:endParaRPr lang="et-EE" dirty="0"/>
          </a:p>
          <a:p>
            <a:endParaRPr lang="et-EE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smtClean="0">
                <a:solidFill>
                  <a:srgbClr val="C7C2BA"/>
                </a:solidFill>
              </a:rPr>
              <a:t>yyyy-mm-dd or Month dd, yyyy</a:t>
            </a:r>
            <a:endParaRPr lang="en-GB">
              <a:solidFill>
                <a:srgbClr val="C7C2BA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C7C2BA"/>
                </a:solidFill>
              </a:rPr>
              <a:t>Internal /Relation/Identifier 0.1 Draft</a:t>
            </a:r>
            <a:endParaRPr lang="en-GB">
              <a:solidFill>
                <a:srgbClr val="C7C2BA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3A2688-BB5C-4CF1-8A41-FF7555894910}" type="slidenum">
              <a:rPr lang="en-GB" smtClean="0">
                <a:solidFill>
                  <a:srgbClr val="C7C2BA"/>
                </a:solidFill>
              </a:rPr>
              <a:pPr/>
              <a:t>14</a:t>
            </a:fld>
            <a:endParaRPr lang="en-GB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215601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78098" y="340843"/>
            <a:ext cx="10633239" cy="489721"/>
          </a:xfrm>
        </p:spPr>
        <p:txBody>
          <a:bodyPr/>
          <a:lstStyle/>
          <a:p>
            <a:r>
              <a:rPr lang="et-EE" dirty="0" err="1" smtClean="0"/>
              <a:t>Initial</a:t>
            </a:r>
            <a:r>
              <a:rPr lang="et-EE" dirty="0" smtClean="0"/>
              <a:t> </a:t>
            </a:r>
            <a:r>
              <a:rPr lang="et-EE" dirty="0" err="1" smtClean="0"/>
              <a:t>ops</a:t>
            </a:r>
            <a:r>
              <a:rPr lang="et-EE" dirty="0" smtClean="0"/>
              <a:t> </a:t>
            </a:r>
            <a:r>
              <a:rPr lang="et-EE" dirty="0" err="1" smtClean="0"/>
              <a:t>training</a:t>
            </a:r>
            <a:r>
              <a:rPr lang="et-EE" dirty="0" smtClean="0"/>
              <a:t> programme</a:t>
            </a:r>
            <a:endParaRPr lang="et-EE" dirty="0"/>
          </a:p>
        </p:txBody>
      </p:sp>
      <p:sp>
        <p:nvSpPr>
          <p:cNvPr id="6" name="Content Placeholder 5"/>
          <p:cNvSpPr>
            <a:spLocks noGrp="1"/>
          </p:cNvSpPr>
          <p:nvPr>
            <p:ph idx="4294967295"/>
          </p:nvPr>
        </p:nvSpPr>
        <p:spPr>
          <a:xfrm>
            <a:off x="978098" y="842491"/>
            <a:ext cx="9895848" cy="4802737"/>
          </a:xfrm>
          <a:prstGeom prst="roundRect">
            <a:avLst>
              <a:gd name="adj" fmla="val 2278"/>
            </a:avLst>
          </a:prstGeom>
        </p:spPr>
        <p:txBody>
          <a:bodyPr/>
          <a:lstStyle/>
          <a:p>
            <a:pPr marL="0" indent="0">
              <a:buNone/>
            </a:pPr>
            <a:r>
              <a:rPr lang="et-EE" dirty="0" err="1" smtClean="0"/>
              <a:t>Problem</a:t>
            </a:r>
            <a:r>
              <a:rPr lang="et-EE" dirty="0" smtClean="0"/>
              <a:t>: </a:t>
            </a:r>
            <a:r>
              <a:rPr lang="et-EE" dirty="0" err="1" smtClean="0"/>
              <a:t>due</a:t>
            </a:r>
            <a:r>
              <a:rPr lang="et-EE" dirty="0" smtClean="0"/>
              <a:t> </a:t>
            </a:r>
            <a:r>
              <a:rPr lang="et-EE" dirty="0" err="1" smtClean="0"/>
              <a:t>to</a:t>
            </a:r>
            <a:r>
              <a:rPr lang="et-EE" dirty="0" smtClean="0"/>
              <a:t> </a:t>
            </a:r>
            <a:r>
              <a:rPr lang="et-EE" dirty="0" err="1" smtClean="0"/>
              <a:t>merger</a:t>
            </a:r>
            <a:r>
              <a:rPr lang="et-EE" dirty="0" smtClean="0"/>
              <a:t> of </a:t>
            </a:r>
            <a:r>
              <a:rPr lang="et-EE" dirty="0" err="1" smtClean="0"/>
              <a:t>development</a:t>
            </a:r>
            <a:r>
              <a:rPr lang="et-EE" dirty="0" smtClean="0"/>
              <a:t> and </a:t>
            </a:r>
            <a:r>
              <a:rPr lang="et-EE" dirty="0" err="1" smtClean="0"/>
              <a:t>operations</a:t>
            </a:r>
            <a:r>
              <a:rPr lang="et-EE" dirty="0" smtClean="0"/>
              <a:t> </a:t>
            </a:r>
            <a:r>
              <a:rPr lang="et-EE" dirty="0" err="1" smtClean="0"/>
              <a:t>teams</a:t>
            </a:r>
            <a:r>
              <a:rPr lang="et-EE" dirty="0" smtClean="0"/>
              <a:t> </a:t>
            </a:r>
            <a:r>
              <a:rPr lang="et-EE" dirty="0" err="1" smtClean="0"/>
              <a:t>into</a:t>
            </a:r>
            <a:r>
              <a:rPr lang="et-EE" dirty="0" smtClean="0"/>
              <a:t> </a:t>
            </a:r>
            <a:r>
              <a:rPr lang="et-EE" dirty="0" err="1" smtClean="0"/>
              <a:t>devops</a:t>
            </a:r>
            <a:r>
              <a:rPr lang="et-EE" dirty="0" smtClean="0"/>
              <a:t> </a:t>
            </a:r>
            <a:r>
              <a:rPr lang="et-EE" dirty="0" err="1" smtClean="0"/>
              <a:t>teams</a:t>
            </a:r>
            <a:r>
              <a:rPr lang="et-EE" dirty="0" smtClean="0"/>
              <a:t> </a:t>
            </a:r>
            <a:r>
              <a:rPr lang="et-EE" dirty="0" err="1" smtClean="0"/>
              <a:t>most</a:t>
            </a:r>
            <a:r>
              <a:rPr lang="et-EE" dirty="0" smtClean="0"/>
              <a:t> of </a:t>
            </a:r>
            <a:r>
              <a:rPr lang="et-EE" dirty="0" err="1" smtClean="0"/>
              <a:t>them</a:t>
            </a:r>
            <a:r>
              <a:rPr lang="et-EE" dirty="0" smtClean="0"/>
              <a:t> </a:t>
            </a:r>
            <a:r>
              <a:rPr lang="et-EE" dirty="0" err="1" smtClean="0"/>
              <a:t>had</a:t>
            </a:r>
            <a:r>
              <a:rPr lang="et-EE" dirty="0" smtClean="0"/>
              <a:t> </a:t>
            </a:r>
            <a:r>
              <a:rPr lang="et-EE" dirty="0" err="1" smtClean="0"/>
              <a:t>low</a:t>
            </a:r>
            <a:r>
              <a:rPr lang="et-EE" dirty="0" smtClean="0"/>
              <a:t> </a:t>
            </a:r>
            <a:r>
              <a:rPr lang="et-EE" dirty="0" err="1" smtClean="0"/>
              <a:t>competence</a:t>
            </a:r>
            <a:r>
              <a:rPr lang="et-EE" dirty="0" smtClean="0"/>
              <a:t> in </a:t>
            </a:r>
            <a:r>
              <a:rPr lang="et-EE" dirty="0" err="1" smtClean="0"/>
              <a:t>operating</a:t>
            </a:r>
            <a:r>
              <a:rPr lang="et-EE" dirty="0" smtClean="0"/>
              <a:t> </a:t>
            </a:r>
            <a:r>
              <a:rPr lang="et-EE" dirty="0" err="1" smtClean="0"/>
              <a:t>system</a:t>
            </a:r>
            <a:r>
              <a:rPr lang="et-EE" dirty="0" smtClean="0"/>
              <a:t>/</a:t>
            </a:r>
            <a:r>
              <a:rPr lang="et-EE" dirty="0" err="1" smtClean="0"/>
              <a:t>database</a:t>
            </a:r>
            <a:r>
              <a:rPr lang="et-EE" dirty="0" smtClean="0"/>
              <a:t> </a:t>
            </a:r>
            <a:r>
              <a:rPr lang="et-EE" dirty="0" err="1" smtClean="0"/>
              <a:t>administration</a:t>
            </a:r>
            <a:r>
              <a:rPr lang="et-EE" dirty="0" smtClean="0"/>
              <a:t> and </a:t>
            </a:r>
            <a:r>
              <a:rPr lang="et-EE" dirty="0" err="1" smtClean="0"/>
              <a:t>closely</a:t>
            </a:r>
            <a:r>
              <a:rPr lang="et-EE" dirty="0" smtClean="0"/>
              <a:t> </a:t>
            </a:r>
            <a:r>
              <a:rPr lang="et-EE" dirty="0" err="1" smtClean="0"/>
              <a:t>related</a:t>
            </a:r>
            <a:r>
              <a:rPr lang="et-EE" dirty="0" smtClean="0"/>
              <a:t> </a:t>
            </a:r>
            <a:r>
              <a:rPr lang="et-EE" dirty="0" err="1" smtClean="0"/>
              <a:t>activities</a:t>
            </a:r>
            <a:r>
              <a:rPr lang="et-EE" dirty="0" smtClean="0"/>
              <a:t/>
            </a:r>
            <a:br>
              <a:rPr lang="et-EE" dirty="0" smtClean="0"/>
            </a:br>
            <a:r>
              <a:rPr lang="et-EE" dirty="0" smtClean="0"/>
              <a:t/>
            </a:r>
            <a:br>
              <a:rPr lang="et-EE" dirty="0" smtClean="0"/>
            </a:br>
            <a:r>
              <a:rPr lang="et-EE" dirty="0" err="1" smtClean="0"/>
              <a:t>Solution</a:t>
            </a:r>
            <a:r>
              <a:rPr lang="et-EE" dirty="0" smtClean="0"/>
              <a:t>: </a:t>
            </a:r>
            <a:r>
              <a:rPr lang="et-EE" dirty="0" err="1" smtClean="0"/>
              <a:t>internal</a:t>
            </a:r>
            <a:r>
              <a:rPr lang="et-EE" dirty="0" smtClean="0"/>
              <a:t> </a:t>
            </a:r>
            <a:r>
              <a:rPr lang="et-EE" dirty="0" err="1" smtClean="0"/>
              <a:t>training</a:t>
            </a:r>
            <a:r>
              <a:rPr lang="et-EE" dirty="0" smtClean="0"/>
              <a:t> programme </a:t>
            </a:r>
            <a:r>
              <a:rPr lang="et-EE" dirty="0" err="1" smtClean="0"/>
              <a:t>performed</a:t>
            </a:r>
            <a:r>
              <a:rPr lang="et-EE" dirty="0" smtClean="0"/>
              <a:t> </a:t>
            </a:r>
            <a:r>
              <a:rPr lang="et-EE" dirty="0" err="1" smtClean="0"/>
              <a:t>mainly</a:t>
            </a:r>
            <a:r>
              <a:rPr lang="et-EE" dirty="0" smtClean="0"/>
              <a:t> </a:t>
            </a:r>
            <a:r>
              <a:rPr lang="et-EE" dirty="0" err="1" smtClean="0"/>
              <a:t>by</a:t>
            </a:r>
            <a:r>
              <a:rPr lang="et-EE" dirty="0" smtClean="0"/>
              <a:t> </a:t>
            </a:r>
            <a:r>
              <a:rPr lang="et-EE" dirty="0" err="1" smtClean="0"/>
              <a:t>system</a:t>
            </a:r>
            <a:r>
              <a:rPr lang="et-EE" dirty="0" smtClean="0"/>
              <a:t> </a:t>
            </a:r>
            <a:r>
              <a:rPr lang="et-EE" dirty="0" err="1" smtClean="0"/>
              <a:t>administrators</a:t>
            </a:r>
            <a:r>
              <a:rPr lang="et-EE" dirty="0" smtClean="0"/>
              <a:t/>
            </a:r>
            <a:br>
              <a:rPr lang="et-EE" dirty="0" smtClean="0"/>
            </a:br>
            <a:r>
              <a:rPr lang="et-EE" dirty="0" err="1" smtClean="0"/>
              <a:t>Key</a:t>
            </a:r>
            <a:r>
              <a:rPr lang="et-EE" dirty="0" smtClean="0"/>
              <a:t> </a:t>
            </a:r>
            <a:r>
              <a:rPr lang="et-EE" dirty="0" err="1" smtClean="0"/>
              <a:t>facts</a:t>
            </a:r>
            <a:r>
              <a:rPr lang="et-EE" dirty="0" smtClean="0"/>
              <a:t>: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t-EE" sz="1800" dirty="0" err="1" smtClean="0"/>
              <a:t>Preparation</a:t>
            </a:r>
            <a:r>
              <a:rPr lang="et-EE" sz="1800" dirty="0" smtClean="0"/>
              <a:t> </a:t>
            </a:r>
            <a:r>
              <a:rPr lang="et-EE" sz="1800" dirty="0"/>
              <a:t>and </a:t>
            </a:r>
            <a:r>
              <a:rPr lang="et-EE" sz="1800" dirty="0" smtClean="0"/>
              <a:t>„</a:t>
            </a:r>
            <a:r>
              <a:rPr lang="et-EE" sz="1800" dirty="0" err="1" smtClean="0"/>
              <a:t>recruitment</a:t>
            </a:r>
            <a:r>
              <a:rPr lang="et-EE" sz="1800" dirty="0" smtClean="0"/>
              <a:t>“ </a:t>
            </a:r>
            <a:r>
              <a:rPr lang="et-EE" sz="1800" dirty="0"/>
              <a:t>of </a:t>
            </a:r>
            <a:r>
              <a:rPr lang="et-EE" sz="1800" dirty="0" err="1"/>
              <a:t>trainers</a:t>
            </a:r>
            <a:r>
              <a:rPr lang="et-EE" sz="1800" dirty="0"/>
              <a:t>: 1 </a:t>
            </a:r>
            <a:r>
              <a:rPr lang="et-EE" sz="1800" dirty="0" err="1" smtClean="0"/>
              <a:t>week</a:t>
            </a:r>
            <a:r>
              <a:rPr lang="et-EE" sz="1800" dirty="0" smtClean="0"/>
              <a:t>, programme </a:t>
            </a:r>
            <a:r>
              <a:rPr lang="et-EE" sz="1800" dirty="0" err="1" smtClean="0"/>
              <a:t>duration</a:t>
            </a:r>
            <a:r>
              <a:rPr lang="et-EE" sz="1800" dirty="0" smtClean="0"/>
              <a:t>: 1,5 </a:t>
            </a:r>
            <a:r>
              <a:rPr lang="et-EE" sz="1800" dirty="0" err="1" smtClean="0"/>
              <a:t>months</a:t>
            </a:r>
            <a:r>
              <a:rPr lang="et-EE" sz="1800" dirty="0" smtClean="0"/>
              <a:t>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t-EE" sz="1800" dirty="0"/>
              <a:t>16 </a:t>
            </a:r>
            <a:r>
              <a:rPr lang="et-EE" sz="1800" dirty="0" err="1"/>
              <a:t>trainers</a:t>
            </a:r>
            <a:r>
              <a:rPr lang="et-EE" sz="1800" dirty="0"/>
              <a:t>, </a:t>
            </a:r>
            <a:r>
              <a:rPr lang="et-EE" sz="1800" dirty="0" err="1" smtClean="0"/>
              <a:t>only</a:t>
            </a:r>
            <a:r>
              <a:rPr lang="et-EE" sz="1800" dirty="0" smtClean="0"/>
              <a:t> 1 of </a:t>
            </a:r>
            <a:r>
              <a:rPr lang="et-EE" sz="1800" dirty="0" err="1"/>
              <a:t>them</a:t>
            </a:r>
            <a:r>
              <a:rPr lang="et-EE" sz="1800" dirty="0"/>
              <a:t> </a:t>
            </a:r>
            <a:r>
              <a:rPr lang="et-EE" sz="1800" dirty="0" err="1"/>
              <a:t>had</a:t>
            </a:r>
            <a:r>
              <a:rPr lang="et-EE" sz="1800" dirty="0"/>
              <a:t> </a:t>
            </a:r>
            <a:r>
              <a:rPr lang="et-EE" sz="1800" dirty="0" err="1" smtClean="0"/>
              <a:t>some</a:t>
            </a:r>
            <a:r>
              <a:rPr lang="et-EE" sz="1800" dirty="0" smtClean="0"/>
              <a:t> </a:t>
            </a:r>
            <a:r>
              <a:rPr lang="et-EE" sz="1800" dirty="0" err="1" smtClean="0"/>
              <a:t>previous</a:t>
            </a:r>
            <a:r>
              <a:rPr lang="et-EE" sz="1800" dirty="0" smtClean="0"/>
              <a:t> </a:t>
            </a:r>
            <a:r>
              <a:rPr lang="et-EE" sz="1800" dirty="0" err="1"/>
              <a:t>experience</a:t>
            </a:r>
            <a:r>
              <a:rPr lang="et-EE" sz="1800" dirty="0"/>
              <a:t> </a:t>
            </a:r>
            <a:r>
              <a:rPr lang="et-EE" sz="1800" dirty="0" err="1"/>
              <a:t>as</a:t>
            </a:r>
            <a:r>
              <a:rPr lang="et-EE" sz="1800" dirty="0"/>
              <a:t> a </a:t>
            </a:r>
            <a:r>
              <a:rPr lang="et-EE" sz="1800" dirty="0" err="1"/>
              <a:t>trainer</a:t>
            </a:r>
            <a:r>
              <a:rPr lang="et-EE" sz="1800" dirty="0"/>
              <a:t> 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t-EE" sz="1800" dirty="0" smtClean="0"/>
              <a:t>14 </a:t>
            </a:r>
            <a:r>
              <a:rPr lang="et-EE" sz="1800" dirty="0" err="1" smtClean="0"/>
              <a:t>different</a:t>
            </a:r>
            <a:r>
              <a:rPr lang="et-EE" sz="1800" dirty="0" smtClean="0"/>
              <a:t> </a:t>
            </a:r>
            <a:r>
              <a:rPr lang="et-EE" sz="1800" dirty="0" err="1" smtClean="0"/>
              <a:t>trainings</a:t>
            </a:r>
            <a:r>
              <a:rPr lang="et-EE" sz="1800" dirty="0" smtClean="0"/>
              <a:t>, 28 </a:t>
            </a:r>
            <a:r>
              <a:rPr lang="et-EE" sz="1800" dirty="0" err="1" smtClean="0"/>
              <a:t>training</a:t>
            </a:r>
            <a:r>
              <a:rPr lang="et-EE" sz="1800" dirty="0" smtClean="0"/>
              <a:t> </a:t>
            </a:r>
            <a:r>
              <a:rPr lang="et-EE" sz="1800" dirty="0" err="1" smtClean="0"/>
              <a:t>sessions</a:t>
            </a:r>
            <a:r>
              <a:rPr lang="et-EE" sz="1800" dirty="0" smtClean="0"/>
              <a:t>: </a:t>
            </a:r>
            <a:r>
              <a:rPr lang="et-EE" sz="1800" dirty="0" err="1" smtClean="0"/>
              <a:t>monitoring</a:t>
            </a:r>
            <a:r>
              <a:rPr lang="et-EE" sz="1800" dirty="0" smtClean="0"/>
              <a:t>, </a:t>
            </a:r>
            <a:r>
              <a:rPr lang="et-EE" sz="1800" dirty="0" err="1" smtClean="0"/>
              <a:t>backup</a:t>
            </a:r>
            <a:r>
              <a:rPr lang="et-EE" sz="1800" dirty="0" smtClean="0"/>
              <a:t>, </a:t>
            </a:r>
            <a:r>
              <a:rPr lang="et-EE" sz="1800" dirty="0" err="1" smtClean="0"/>
              <a:t>logging</a:t>
            </a:r>
            <a:r>
              <a:rPr lang="et-EE" sz="1800" dirty="0" smtClean="0"/>
              <a:t>, </a:t>
            </a:r>
            <a:r>
              <a:rPr lang="et-EE" sz="1800" dirty="0" err="1" smtClean="0"/>
              <a:t>processes</a:t>
            </a:r>
            <a:r>
              <a:rPr lang="et-EE" sz="1800" dirty="0" smtClean="0"/>
              <a:t>, </a:t>
            </a:r>
            <a:r>
              <a:rPr lang="et-EE" sz="1800" dirty="0" err="1" smtClean="0"/>
              <a:t>administration</a:t>
            </a:r>
            <a:r>
              <a:rPr lang="et-EE" sz="1800" dirty="0" smtClean="0"/>
              <a:t> of OS/</a:t>
            </a:r>
            <a:r>
              <a:rPr lang="et-EE" sz="1800" dirty="0" err="1" smtClean="0"/>
              <a:t>DBs</a:t>
            </a:r>
            <a:r>
              <a:rPr lang="et-EE" sz="1800" dirty="0" smtClean="0"/>
              <a:t> </a:t>
            </a:r>
            <a:r>
              <a:rPr lang="et-EE" sz="1800" dirty="0" err="1" smtClean="0"/>
              <a:t>etc</a:t>
            </a:r>
            <a:endParaRPr lang="et-EE" sz="1800" dirty="0" smtClean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t-EE" sz="1800" dirty="0" err="1" smtClean="0"/>
              <a:t>Focus</a:t>
            </a:r>
            <a:r>
              <a:rPr lang="et-EE" sz="1800" dirty="0" smtClean="0"/>
              <a:t> </a:t>
            </a:r>
            <a:r>
              <a:rPr lang="et-EE" sz="1800" dirty="0" err="1" smtClean="0"/>
              <a:t>mainly</a:t>
            </a:r>
            <a:r>
              <a:rPr lang="et-EE" sz="1800" dirty="0" smtClean="0"/>
              <a:t> on </a:t>
            </a:r>
            <a:r>
              <a:rPr lang="et-EE" sz="1800" dirty="0" err="1" smtClean="0"/>
              <a:t>general</a:t>
            </a:r>
            <a:r>
              <a:rPr lang="et-EE" sz="1800" dirty="0" smtClean="0"/>
              <a:t> </a:t>
            </a:r>
            <a:r>
              <a:rPr lang="et-EE" sz="1800" dirty="0" err="1" smtClean="0"/>
              <a:t>overview</a:t>
            </a:r>
            <a:r>
              <a:rPr lang="et-EE" sz="1800" dirty="0" smtClean="0"/>
              <a:t> and </a:t>
            </a:r>
            <a:r>
              <a:rPr lang="et-EE" sz="1800" dirty="0" err="1" smtClean="0"/>
              <a:t>our</a:t>
            </a:r>
            <a:r>
              <a:rPr lang="et-EE" sz="1800" dirty="0" smtClean="0"/>
              <a:t> </a:t>
            </a:r>
            <a:r>
              <a:rPr lang="et-EE" sz="1800" dirty="0" err="1" smtClean="0"/>
              <a:t>best</a:t>
            </a:r>
            <a:r>
              <a:rPr lang="et-EE" sz="1800" dirty="0" smtClean="0"/>
              <a:t> </a:t>
            </a:r>
            <a:r>
              <a:rPr lang="et-EE" sz="1800" dirty="0" err="1" smtClean="0"/>
              <a:t>practices</a:t>
            </a:r>
            <a:r>
              <a:rPr lang="et-EE" sz="1800" dirty="0" smtClean="0"/>
              <a:t>, </a:t>
            </a:r>
            <a:r>
              <a:rPr lang="et-EE" sz="1800" dirty="0" err="1" smtClean="0"/>
              <a:t>each</a:t>
            </a:r>
            <a:r>
              <a:rPr lang="et-EE" sz="1800" dirty="0" smtClean="0"/>
              <a:t> </a:t>
            </a:r>
            <a:r>
              <a:rPr lang="et-EE" sz="1800" dirty="0" err="1" smtClean="0"/>
              <a:t>session</a:t>
            </a:r>
            <a:r>
              <a:rPr lang="et-EE" sz="1800" dirty="0" smtClean="0"/>
              <a:t> </a:t>
            </a:r>
            <a:r>
              <a:rPr lang="et-EE" sz="1800" dirty="0" err="1" smtClean="0"/>
              <a:t>lasting</a:t>
            </a:r>
            <a:r>
              <a:rPr lang="et-EE" sz="1800" dirty="0" smtClean="0"/>
              <a:t> 1-2h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t-EE" sz="1800" dirty="0" smtClean="0"/>
              <a:t>100+ </a:t>
            </a:r>
            <a:r>
              <a:rPr lang="et-EE" sz="1800" dirty="0" err="1" smtClean="0"/>
              <a:t>different</a:t>
            </a:r>
            <a:r>
              <a:rPr lang="et-EE" sz="1800" dirty="0" smtClean="0"/>
              <a:t> </a:t>
            </a:r>
            <a:r>
              <a:rPr lang="et-EE" sz="1800" dirty="0" err="1" smtClean="0"/>
              <a:t>people</a:t>
            </a:r>
            <a:r>
              <a:rPr lang="et-EE" sz="1800" dirty="0" smtClean="0"/>
              <a:t> </a:t>
            </a:r>
            <a:r>
              <a:rPr lang="et-EE" sz="1800" dirty="0" err="1" smtClean="0"/>
              <a:t>trained</a:t>
            </a:r>
            <a:r>
              <a:rPr lang="et-EE" sz="1800" dirty="0" smtClean="0"/>
              <a:t>, </a:t>
            </a:r>
            <a:r>
              <a:rPr lang="et-EE" sz="1800" dirty="0" err="1" smtClean="0"/>
              <a:t>most</a:t>
            </a:r>
            <a:r>
              <a:rPr lang="et-EE" sz="1800" dirty="0" smtClean="0"/>
              <a:t> of </a:t>
            </a:r>
            <a:r>
              <a:rPr lang="et-EE" sz="1800" dirty="0" err="1" smtClean="0"/>
              <a:t>them</a:t>
            </a:r>
            <a:r>
              <a:rPr lang="et-EE" sz="1800" dirty="0" smtClean="0"/>
              <a:t> on </a:t>
            </a:r>
            <a:r>
              <a:rPr lang="et-EE" sz="1800" dirty="0" err="1" smtClean="0"/>
              <a:t>several</a:t>
            </a:r>
            <a:r>
              <a:rPr lang="et-EE" sz="1800" dirty="0" smtClean="0"/>
              <a:t> </a:t>
            </a:r>
            <a:r>
              <a:rPr lang="et-EE" sz="1800" dirty="0" err="1" smtClean="0"/>
              <a:t>trainings</a:t>
            </a:r>
            <a:endParaRPr lang="et-EE" sz="1800" dirty="0" smtClean="0"/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t-EE" sz="1800" dirty="0" err="1" smtClean="0"/>
              <a:t>Positive</a:t>
            </a:r>
            <a:r>
              <a:rPr lang="et-EE" sz="1800" dirty="0" smtClean="0"/>
              <a:t> </a:t>
            </a:r>
            <a:r>
              <a:rPr lang="et-EE" sz="1800" dirty="0" err="1" smtClean="0"/>
              <a:t>feedback</a:t>
            </a:r>
            <a:r>
              <a:rPr lang="et-EE" sz="1800" dirty="0" smtClean="0"/>
              <a:t> </a:t>
            </a:r>
            <a:r>
              <a:rPr lang="et-EE" sz="1800" dirty="0" err="1" smtClean="0"/>
              <a:t>from</a:t>
            </a:r>
            <a:r>
              <a:rPr lang="et-EE" sz="1800" dirty="0" smtClean="0"/>
              <a:t> </a:t>
            </a:r>
            <a:r>
              <a:rPr lang="et-EE" sz="1800" dirty="0" err="1" smtClean="0"/>
              <a:t>trainees</a:t>
            </a:r>
            <a:r>
              <a:rPr lang="et-EE" sz="1800" dirty="0" smtClean="0"/>
              <a:t>, in </a:t>
            </a:r>
            <a:r>
              <a:rPr lang="et-EE" sz="1800" dirty="0" err="1" smtClean="0"/>
              <a:t>some</a:t>
            </a:r>
            <a:r>
              <a:rPr lang="et-EE" sz="1800" dirty="0" smtClean="0"/>
              <a:t> </a:t>
            </a:r>
            <a:r>
              <a:rPr lang="et-EE" sz="1800" dirty="0" err="1" smtClean="0"/>
              <a:t>cases</a:t>
            </a:r>
            <a:r>
              <a:rPr lang="et-EE" sz="1800" dirty="0" smtClean="0"/>
              <a:t> need </a:t>
            </a:r>
            <a:r>
              <a:rPr lang="et-EE" sz="1800" dirty="0" err="1" smtClean="0"/>
              <a:t>for</a:t>
            </a:r>
            <a:r>
              <a:rPr lang="et-EE" sz="1800" dirty="0" smtClean="0"/>
              <a:t> </a:t>
            </a:r>
            <a:r>
              <a:rPr lang="et-EE" sz="1800" dirty="0" err="1" smtClean="0"/>
              <a:t>more</a:t>
            </a:r>
            <a:r>
              <a:rPr lang="et-EE" sz="1800" dirty="0" smtClean="0"/>
              <a:t> </a:t>
            </a:r>
            <a:r>
              <a:rPr lang="et-EE" sz="1800" dirty="0" err="1" smtClean="0"/>
              <a:t>hands</a:t>
            </a:r>
            <a:r>
              <a:rPr lang="et-EE" sz="1800" dirty="0" smtClean="0"/>
              <a:t>-on </a:t>
            </a:r>
            <a:r>
              <a:rPr lang="et-EE" sz="1800" dirty="0" err="1" smtClean="0"/>
              <a:t>approach</a:t>
            </a:r>
            <a:r>
              <a:rPr lang="et-EE" sz="1600" dirty="0" smtClean="0"/>
              <a:t/>
            </a:r>
            <a:br>
              <a:rPr lang="et-EE" sz="1600" dirty="0" smtClean="0"/>
            </a:br>
            <a:endParaRPr lang="et-EE" sz="1200" dirty="0" smtClean="0"/>
          </a:p>
          <a:p>
            <a:pPr marL="614363" lvl="2" indent="-342900">
              <a:buFont typeface="+mj-lt"/>
              <a:buAutoNum type="arabicPeriod"/>
            </a:pPr>
            <a:endParaRPr lang="en-GB" sz="1400" dirty="0"/>
          </a:p>
          <a:p>
            <a:pPr fontAlgn="ctr"/>
            <a:endParaRPr lang="et-EE" dirty="0" smtClean="0"/>
          </a:p>
          <a:p>
            <a:pPr fontAlgn="ctr"/>
            <a:endParaRPr lang="et-EE" dirty="0"/>
          </a:p>
          <a:p>
            <a:endParaRPr lang="et-EE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smtClean="0">
                <a:solidFill>
                  <a:srgbClr val="C7C2BA"/>
                </a:solidFill>
              </a:rPr>
              <a:t>yyyy-mm-dd or Month dd, yyyy</a:t>
            </a:r>
            <a:endParaRPr lang="en-GB">
              <a:solidFill>
                <a:srgbClr val="C7C2BA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C7C2BA"/>
                </a:solidFill>
              </a:rPr>
              <a:t>Internal /Relation/Identifier 0.1 Draft</a:t>
            </a:r>
            <a:endParaRPr lang="en-GB">
              <a:solidFill>
                <a:srgbClr val="C7C2BA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3A2688-BB5C-4CF1-8A41-FF7555894910}" type="slidenum">
              <a:rPr lang="en-GB" smtClean="0">
                <a:solidFill>
                  <a:srgbClr val="C7C2BA"/>
                </a:solidFill>
              </a:rPr>
              <a:pPr/>
              <a:t>15</a:t>
            </a:fld>
            <a:endParaRPr lang="en-GB">
              <a:solidFill>
                <a:srgbClr val="C7C2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71879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smtClean="0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err="1" smtClean="0"/>
              <a:t>Systematic</a:t>
            </a:r>
            <a:r>
              <a:rPr lang="et-EE" dirty="0" smtClean="0"/>
              <a:t> </a:t>
            </a:r>
            <a:r>
              <a:rPr lang="et-EE" dirty="0" err="1" smtClean="0"/>
              <a:t>approach</a:t>
            </a:r>
            <a:r>
              <a:rPr lang="et-EE" dirty="0" smtClean="0"/>
              <a:t> </a:t>
            </a:r>
            <a:r>
              <a:rPr lang="et-EE" dirty="0" err="1" smtClean="0"/>
              <a:t>for</a:t>
            </a:r>
            <a:r>
              <a:rPr lang="et-EE" dirty="0" smtClean="0"/>
              <a:t> </a:t>
            </a:r>
            <a:r>
              <a:rPr lang="et-EE" dirty="0" err="1" smtClean="0"/>
              <a:t>comp</a:t>
            </a:r>
            <a:r>
              <a:rPr lang="et-EE" dirty="0" smtClean="0"/>
              <a:t> </a:t>
            </a:r>
            <a:r>
              <a:rPr lang="et-EE" dirty="0" err="1" smtClean="0"/>
              <a:t>management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538163" y="1077913"/>
            <a:ext cx="11114087" cy="4711812"/>
          </a:xfrm>
        </p:spPr>
        <p:txBody>
          <a:bodyPr/>
          <a:lstStyle/>
          <a:p>
            <a:r>
              <a:rPr lang="et-EE" sz="2400" dirty="0" err="1" smtClean="0"/>
              <a:t>Assignment</a:t>
            </a:r>
            <a:r>
              <a:rPr lang="et-EE" sz="2400" dirty="0" smtClean="0"/>
              <a:t> of </a:t>
            </a:r>
            <a:r>
              <a:rPr lang="et-EE" sz="2400" dirty="0" err="1" smtClean="0"/>
              <a:t>competence</a:t>
            </a:r>
            <a:r>
              <a:rPr lang="et-EE" sz="2400" dirty="0" smtClean="0"/>
              <a:t> </a:t>
            </a:r>
            <a:r>
              <a:rPr lang="et-EE" sz="2400" dirty="0" err="1" smtClean="0"/>
              <a:t>managers</a:t>
            </a:r>
            <a:r>
              <a:rPr lang="et-EE" sz="2400" dirty="0" smtClean="0"/>
              <a:t> </a:t>
            </a:r>
            <a:r>
              <a:rPr lang="et-EE" sz="2400" dirty="0" err="1" smtClean="0"/>
              <a:t>for</a:t>
            </a:r>
            <a:r>
              <a:rPr lang="et-EE" sz="2400" dirty="0" smtClean="0"/>
              <a:t> </a:t>
            </a:r>
            <a:r>
              <a:rPr lang="et-EE" sz="2400" dirty="0" err="1" smtClean="0"/>
              <a:t>tech</a:t>
            </a:r>
            <a:r>
              <a:rPr lang="et-EE" sz="2400" dirty="0" smtClean="0"/>
              <a:t> </a:t>
            </a:r>
            <a:r>
              <a:rPr lang="et-EE" sz="2400" dirty="0" err="1" smtClean="0"/>
              <a:t>comp</a:t>
            </a:r>
            <a:r>
              <a:rPr lang="et-EE" sz="2400" dirty="0" smtClean="0"/>
              <a:t> </a:t>
            </a:r>
            <a:r>
              <a:rPr lang="et-EE" sz="2400" dirty="0" err="1" smtClean="0"/>
              <a:t>areas</a:t>
            </a:r>
            <a:r>
              <a:rPr lang="et-EE" sz="2400" dirty="0" smtClean="0"/>
              <a:t>:</a:t>
            </a:r>
          </a:p>
          <a:p>
            <a:pPr lvl="1"/>
            <a:r>
              <a:rPr lang="et-EE" dirty="0" err="1" smtClean="0"/>
              <a:t>Architecture</a:t>
            </a:r>
            <a:r>
              <a:rPr lang="et-EE" dirty="0" smtClean="0"/>
              <a:t>, </a:t>
            </a:r>
            <a:r>
              <a:rPr lang="et-EE" dirty="0" err="1" smtClean="0"/>
              <a:t>analysis</a:t>
            </a:r>
            <a:r>
              <a:rPr lang="et-EE" dirty="0" smtClean="0"/>
              <a:t>, </a:t>
            </a:r>
            <a:r>
              <a:rPr lang="et-EE" dirty="0" err="1" smtClean="0"/>
              <a:t>backup</a:t>
            </a:r>
            <a:r>
              <a:rPr lang="et-EE" dirty="0" smtClean="0"/>
              <a:t>, </a:t>
            </a:r>
            <a:r>
              <a:rPr lang="et-EE" dirty="0" err="1" smtClean="0"/>
              <a:t>oracle</a:t>
            </a:r>
            <a:r>
              <a:rPr lang="et-EE" dirty="0" smtClean="0"/>
              <a:t>/</a:t>
            </a:r>
            <a:r>
              <a:rPr lang="et-EE" dirty="0" err="1" smtClean="0"/>
              <a:t>postgre</a:t>
            </a:r>
            <a:r>
              <a:rPr lang="et-EE" dirty="0" smtClean="0"/>
              <a:t>, MS SQL, </a:t>
            </a:r>
            <a:r>
              <a:rPr lang="et-EE" dirty="0" err="1" smtClean="0"/>
              <a:t>linux</a:t>
            </a:r>
            <a:r>
              <a:rPr lang="et-EE" dirty="0" smtClean="0"/>
              <a:t>, </a:t>
            </a:r>
            <a:r>
              <a:rPr lang="et-EE" dirty="0" err="1" smtClean="0"/>
              <a:t>windows</a:t>
            </a:r>
            <a:r>
              <a:rPr lang="et-EE" dirty="0" smtClean="0"/>
              <a:t> server </a:t>
            </a:r>
            <a:r>
              <a:rPr lang="et-EE" dirty="0" err="1" smtClean="0"/>
              <a:t>etc</a:t>
            </a:r>
            <a:r>
              <a:rPr lang="et-EE" dirty="0" smtClean="0"/>
              <a:t> </a:t>
            </a:r>
          </a:p>
          <a:p>
            <a:pPr lvl="1"/>
            <a:r>
              <a:rPr lang="et-EE" dirty="0" err="1" smtClean="0"/>
              <a:t>Comp</a:t>
            </a:r>
            <a:r>
              <a:rPr lang="et-EE" dirty="0" smtClean="0"/>
              <a:t> </a:t>
            </a:r>
            <a:r>
              <a:rPr lang="et-EE" dirty="0" err="1" smtClean="0"/>
              <a:t>area</a:t>
            </a:r>
            <a:r>
              <a:rPr lang="et-EE" dirty="0" smtClean="0"/>
              <a:t> </a:t>
            </a:r>
            <a:r>
              <a:rPr lang="et-EE" dirty="0" err="1" smtClean="0"/>
              <a:t>manager</a:t>
            </a:r>
            <a:r>
              <a:rPr lang="et-EE" dirty="0" smtClean="0"/>
              <a:t> </a:t>
            </a:r>
            <a:r>
              <a:rPr lang="et-EE" dirty="0" err="1" smtClean="0"/>
              <a:t>is</a:t>
            </a:r>
            <a:r>
              <a:rPr lang="et-EE" dirty="0" smtClean="0"/>
              <a:t> </a:t>
            </a:r>
            <a:r>
              <a:rPr lang="et-EE" dirty="0" err="1" smtClean="0"/>
              <a:t>resposible</a:t>
            </a:r>
            <a:r>
              <a:rPr lang="et-EE" dirty="0" smtClean="0"/>
              <a:t> </a:t>
            </a:r>
            <a:r>
              <a:rPr lang="et-EE" dirty="0" err="1" smtClean="0"/>
              <a:t>for</a:t>
            </a:r>
            <a:r>
              <a:rPr lang="et-EE" dirty="0" smtClean="0"/>
              <a:t> </a:t>
            </a:r>
            <a:r>
              <a:rPr lang="et-EE" dirty="0" err="1" smtClean="0"/>
              <a:t>ensuring</a:t>
            </a:r>
            <a:r>
              <a:rPr lang="et-EE" dirty="0"/>
              <a:t> </a:t>
            </a:r>
            <a:r>
              <a:rPr lang="et-EE" dirty="0" err="1" smtClean="0"/>
              <a:t>required</a:t>
            </a:r>
            <a:r>
              <a:rPr lang="et-EE" dirty="0" smtClean="0"/>
              <a:t> </a:t>
            </a:r>
            <a:r>
              <a:rPr lang="et-EE" dirty="0" err="1" smtClean="0"/>
              <a:t>competence</a:t>
            </a:r>
            <a:r>
              <a:rPr lang="et-EE" dirty="0" smtClean="0"/>
              <a:t> in </a:t>
            </a:r>
            <a:r>
              <a:rPr lang="et-EE" dirty="0" err="1" smtClean="0"/>
              <a:t>devops</a:t>
            </a:r>
            <a:r>
              <a:rPr lang="et-EE" dirty="0" smtClean="0"/>
              <a:t> </a:t>
            </a:r>
            <a:r>
              <a:rPr lang="et-EE" dirty="0" err="1" smtClean="0"/>
              <a:t>teams</a:t>
            </a:r>
            <a:r>
              <a:rPr lang="et-EE" dirty="0" smtClean="0"/>
              <a:t> and </a:t>
            </a:r>
            <a:r>
              <a:rPr lang="et-EE" dirty="0" err="1" smtClean="0"/>
              <a:t>creating</a:t>
            </a:r>
            <a:r>
              <a:rPr lang="et-EE" dirty="0" smtClean="0"/>
              <a:t>/</a:t>
            </a:r>
            <a:r>
              <a:rPr lang="et-EE" dirty="0" err="1" smtClean="0"/>
              <a:t>managing</a:t>
            </a:r>
            <a:r>
              <a:rPr lang="et-EE" dirty="0" smtClean="0"/>
              <a:t> </a:t>
            </a:r>
            <a:r>
              <a:rPr lang="et-EE" dirty="0" err="1" smtClean="0"/>
              <a:t>best</a:t>
            </a:r>
            <a:r>
              <a:rPr lang="et-EE" dirty="0" smtClean="0"/>
              <a:t> </a:t>
            </a:r>
            <a:r>
              <a:rPr lang="et-EE" dirty="0" err="1" smtClean="0"/>
              <a:t>practices</a:t>
            </a:r>
            <a:endParaRPr lang="et-EE" dirty="0" smtClean="0"/>
          </a:p>
          <a:p>
            <a:pPr lvl="1"/>
            <a:r>
              <a:rPr lang="et-EE" dirty="0" err="1" smtClean="0"/>
              <a:t>Comp</a:t>
            </a:r>
            <a:r>
              <a:rPr lang="et-EE" dirty="0" smtClean="0"/>
              <a:t> </a:t>
            </a:r>
            <a:r>
              <a:rPr lang="et-EE" dirty="0" err="1" smtClean="0"/>
              <a:t>area</a:t>
            </a:r>
            <a:r>
              <a:rPr lang="et-EE" dirty="0" smtClean="0"/>
              <a:t> </a:t>
            </a:r>
            <a:r>
              <a:rPr lang="et-EE" dirty="0" err="1" smtClean="0"/>
              <a:t>manager</a:t>
            </a:r>
            <a:r>
              <a:rPr lang="et-EE" dirty="0" smtClean="0"/>
              <a:t> </a:t>
            </a:r>
            <a:r>
              <a:rPr lang="et-EE" dirty="0" err="1" smtClean="0"/>
              <a:t>is</a:t>
            </a:r>
            <a:r>
              <a:rPr lang="et-EE" dirty="0" smtClean="0"/>
              <a:t> </a:t>
            </a:r>
            <a:r>
              <a:rPr lang="et-EE" dirty="0" err="1" smtClean="0"/>
              <a:t>not</a:t>
            </a:r>
            <a:r>
              <a:rPr lang="et-EE" dirty="0" smtClean="0"/>
              <a:t> </a:t>
            </a:r>
            <a:r>
              <a:rPr lang="et-EE" dirty="0" err="1" smtClean="0"/>
              <a:t>resposible</a:t>
            </a:r>
            <a:r>
              <a:rPr lang="et-EE" dirty="0" smtClean="0"/>
              <a:t> </a:t>
            </a:r>
            <a:r>
              <a:rPr lang="et-EE" dirty="0" err="1" smtClean="0"/>
              <a:t>for</a:t>
            </a:r>
            <a:r>
              <a:rPr lang="et-EE" dirty="0" smtClean="0"/>
              <a:t> </a:t>
            </a:r>
            <a:r>
              <a:rPr lang="et-EE" dirty="0" err="1" smtClean="0"/>
              <a:t>motivating</a:t>
            </a:r>
            <a:r>
              <a:rPr lang="et-EE" dirty="0" smtClean="0"/>
              <a:t> </a:t>
            </a:r>
            <a:r>
              <a:rPr lang="et-EE" dirty="0" err="1" smtClean="0"/>
              <a:t>people</a:t>
            </a:r>
            <a:r>
              <a:rPr lang="et-EE" dirty="0" smtClean="0"/>
              <a:t> </a:t>
            </a:r>
            <a:r>
              <a:rPr lang="et-EE" dirty="0" err="1" smtClean="0"/>
              <a:t>or</a:t>
            </a:r>
            <a:r>
              <a:rPr lang="et-EE" dirty="0" smtClean="0"/>
              <a:t> </a:t>
            </a:r>
            <a:r>
              <a:rPr lang="et-EE" dirty="0" err="1" smtClean="0"/>
              <a:t>checking</a:t>
            </a:r>
            <a:r>
              <a:rPr lang="et-EE" dirty="0" smtClean="0"/>
              <a:t> </a:t>
            </a:r>
            <a:r>
              <a:rPr lang="et-EE" dirty="0" err="1" smtClean="0"/>
              <a:t>if</a:t>
            </a:r>
            <a:r>
              <a:rPr lang="et-EE" dirty="0" smtClean="0"/>
              <a:t> </a:t>
            </a:r>
            <a:r>
              <a:rPr lang="et-EE" dirty="0" err="1" smtClean="0"/>
              <a:t>people</a:t>
            </a:r>
            <a:r>
              <a:rPr lang="et-EE" dirty="0" smtClean="0"/>
              <a:t> are </a:t>
            </a:r>
            <a:r>
              <a:rPr lang="et-EE" dirty="0" err="1" smtClean="0"/>
              <a:t>following</a:t>
            </a:r>
            <a:r>
              <a:rPr lang="et-EE" dirty="0" smtClean="0"/>
              <a:t> </a:t>
            </a:r>
            <a:r>
              <a:rPr lang="et-EE" dirty="0" err="1" smtClean="0"/>
              <a:t>these</a:t>
            </a:r>
            <a:r>
              <a:rPr lang="et-EE" dirty="0" smtClean="0"/>
              <a:t> </a:t>
            </a:r>
            <a:r>
              <a:rPr lang="et-EE" dirty="0" err="1" smtClean="0"/>
              <a:t>best</a:t>
            </a:r>
            <a:r>
              <a:rPr lang="et-EE" dirty="0" smtClean="0"/>
              <a:t> </a:t>
            </a:r>
            <a:r>
              <a:rPr lang="et-EE" dirty="0" err="1" smtClean="0"/>
              <a:t>practices</a:t>
            </a:r>
            <a:endParaRPr lang="et-EE" dirty="0"/>
          </a:p>
          <a:p>
            <a:pPr marL="0" indent="0">
              <a:buNone/>
            </a:pPr>
            <a:r>
              <a:rPr lang="et-EE" dirty="0" err="1" smtClean="0"/>
              <a:t>Competence</a:t>
            </a:r>
            <a:r>
              <a:rPr lang="et-EE" dirty="0" smtClean="0"/>
              <a:t> </a:t>
            </a:r>
            <a:r>
              <a:rPr lang="et-EE" dirty="0" err="1" smtClean="0"/>
              <a:t>evaluation</a:t>
            </a:r>
            <a:r>
              <a:rPr lang="et-EE" dirty="0" smtClean="0"/>
              <a:t> </a:t>
            </a:r>
            <a:r>
              <a:rPr lang="et-EE" dirty="0" err="1" smtClean="0"/>
              <a:t>model</a:t>
            </a:r>
            <a:r>
              <a:rPr lang="et-EE" dirty="0" smtClean="0"/>
              <a:t>:</a:t>
            </a:r>
          </a:p>
          <a:p>
            <a:r>
              <a:rPr lang="et-EE" dirty="0" err="1" smtClean="0"/>
              <a:t>Mapping</a:t>
            </a:r>
            <a:r>
              <a:rPr lang="et-EE" dirty="0" smtClean="0"/>
              <a:t> </a:t>
            </a:r>
            <a:r>
              <a:rPr lang="et-EE" dirty="0" err="1" smtClean="0"/>
              <a:t>people</a:t>
            </a:r>
            <a:r>
              <a:rPr lang="et-EE" dirty="0" smtClean="0"/>
              <a:t> </a:t>
            </a:r>
            <a:r>
              <a:rPr lang="et-EE" dirty="0" err="1" smtClean="0"/>
              <a:t>competence</a:t>
            </a:r>
            <a:r>
              <a:rPr lang="et-EE" dirty="0" smtClean="0"/>
              <a:t> </a:t>
            </a:r>
            <a:r>
              <a:rPr lang="et-EE" dirty="0" err="1" smtClean="0"/>
              <a:t>levels</a:t>
            </a:r>
            <a:r>
              <a:rPr lang="et-EE" dirty="0" smtClean="0"/>
              <a:t> </a:t>
            </a:r>
            <a:r>
              <a:rPr lang="et-EE" dirty="0" err="1" smtClean="0"/>
              <a:t>for</a:t>
            </a:r>
            <a:r>
              <a:rPr lang="et-EE" dirty="0" smtClean="0"/>
              <a:t> </a:t>
            </a:r>
            <a:r>
              <a:rPr lang="et-EE" dirty="0" err="1" smtClean="0"/>
              <a:t>each</a:t>
            </a:r>
            <a:r>
              <a:rPr lang="et-EE" dirty="0" smtClean="0"/>
              <a:t> </a:t>
            </a:r>
            <a:r>
              <a:rPr lang="et-EE" dirty="0" err="1" smtClean="0"/>
              <a:t>competence</a:t>
            </a:r>
            <a:r>
              <a:rPr lang="et-EE" dirty="0" smtClean="0"/>
              <a:t>:</a:t>
            </a:r>
          </a:p>
          <a:p>
            <a:pPr lvl="1"/>
            <a:r>
              <a:rPr lang="et-EE" dirty="0" smtClean="0"/>
              <a:t>-1 </a:t>
            </a:r>
            <a:r>
              <a:rPr lang="et-EE" dirty="0" err="1" smtClean="0"/>
              <a:t>not</a:t>
            </a:r>
            <a:r>
              <a:rPr lang="et-EE" dirty="0" smtClean="0"/>
              <a:t> </a:t>
            </a:r>
            <a:r>
              <a:rPr lang="et-EE" dirty="0" err="1" smtClean="0"/>
              <a:t>needed</a:t>
            </a:r>
            <a:r>
              <a:rPr lang="et-EE" dirty="0" smtClean="0"/>
              <a:t> in </a:t>
            </a:r>
            <a:r>
              <a:rPr lang="et-EE" dirty="0" err="1" smtClean="0"/>
              <a:t>team</a:t>
            </a:r>
            <a:endParaRPr lang="et-EE" dirty="0" smtClean="0"/>
          </a:p>
          <a:p>
            <a:pPr lvl="1"/>
            <a:r>
              <a:rPr lang="et-EE" dirty="0" smtClean="0"/>
              <a:t>0 no </a:t>
            </a:r>
            <a:r>
              <a:rPr lang="et-EE" dirty="0" err="1" smtClean="0"/>
              <a:t>competence</a:t>
            </a:r>
            <a:endParaRPr lang="et-EE" dirty="0" smtClean="0"/>
          </a:p>
          <a:p>
            <a:pPr lvl="1"/>
            <a:r>
              <a:rPr lang="et-EE" dirty="0" smtClean="0"/>
              <a:t>1 </a:t>
            </a:r>
            <a:r>
              <a:rPr lang="et-EE" dirty="0" err="1" smtClean="0"/>
              <a:t>basic</a:t>
            </a:r>
            <a:r>
              <a:rPr lang="et-EE" dirty="0" smtClean="0"/>
              <a:t> </a:t>
            </a:r>
            <a:r>
              <a:rPr lang="et-EE" dirty="0" err="1" smtClean="0"/>
              <a:t>knowledge</a:t>
            </a:r>
            <a:r>
              <a:rPr lang="et-EE" dirty="0" smtClean="0"/>
              <a:t> (</a:t>
            </a:r>
            <a:r>
              <a:rPr lang="et-EE" dirty="0" err="1" smtClean="0"/>
              <a:t>desired</a:t>
            </a:r>
            <a:r>
              <a:rPr lang="et-EE" dirty="0" smtClean="0"/>
              <a:t> </a:t>
            </a:r>
            <a:r>
              <a:rPr lang="et-EE" dirty="0" err="1" smtClean="0"/>
              <a:t>state</a:t>
            </a:r>
            <a:r>
              <a:rPr lang="et-EE" dirty="0" smtClean="0"/>
              <a:t> </a:t>
            </a:r>
            <a:r>
              <a:rPr lang="et-EE" dirty="0" err="1" smtClean="0"/>
              <a:t>for</a:t>
            </a:r>
            <a:r>
              <a:rPr lang="et-EE" dirty="0" smtClean="0"/>
              <a:t> </a:t>
            </a:r>
            <a:r>
              <a:rPr lang="et-EE" dirty="0" err="1" smtClean="0"/>
              <a:t>devops</a:t>
            </a:r>
            <a:r>
              <a:rPr lang="et-EE" dirty="0" smtClean="0"/>
              <a:t> </a:t>
            </a:r>
            <a:r>
              <a:rPr lang="et-EE" dirty="0" err="1" smtClean="0"/>
              <a:t>dev-focused</a:t>
            </a:r>
            <a:r>
              <a:rPr lang="et-EE" dirty="0" smtClean="0"/>
              <a:t> </a:t>
            </a:r>
            <a:r>
              <a:rPr lang="et-EE" dirty="0" err="1" smtClean="0"/>
              <a:t>people</a:t>
            </a:r>
            <a:r>
              <a:rPr lang="et-EE" dirty="0" smtClean="0"/>
              <a:t>)</a:t>
            </a:r>
          </a:p>
          <a:p>
            <a:pPr lvl="1"/>
            <a:r>
              <a:rPr lang="et-EE" dirty="0" smtClean="0"/>
              <a:t>2 </a:t>
            </a:r>
            <a:r>
              <a:rPr lang="et-EE" dirty="0" err="1" smtClean="0"/>
              <a:t>is</a:t>
            </a:r>
            <a:r>
              <a:rPr lang="et-EE" dirty="0" smtClean="0"/>
              <a:t> </a:t>
            </a:r>
            <a:r>
              <a:rPr lang="et-EE" dirty="0" err="1" smtClean="0"/>
              <a:t>independent</a:t>
            </a:r>
            <a:r>
              <a:rPr lang="et-EE" dirty="0" smtClean="0"/>
              <a:t> 95% of </a:t>
            </a:r>
            <a:r>
              <a:rPr lang="et-EE" dirty="0" err="1" smtClean="0"/>
              <a:t>the</a:t>
            </a:r>
            <a:r>
              <a:rPr lang="et-EE" dirty="0" smtClean="0"/>
              <a:t> </a:t>
            </a:r>
            <a:r>
              <a:rPr lang="et-EE" dirty="0" err="1" smtClean="0"/>
              <a:t>time</a:t>
            </a:r>
            <a:r>
              <a:rPr lang="et-EE" dirty="0" smtClean="0"/>
              <a:t> (</a:t>
            </a:r>
            <a:r>
              <a:rPr lang="et-EE" dirty="0" err="1" smtClean="0"/>
              <a:t>desired</a:t>
            </a:r>
            <a:r>
              <a:rPr lang="et-EE" dirty="0" smtClean="0"/>
              <a:t> </a:t>
            </a:r>
            <a:r>
              <a:rPr lang="et-EE" dirty="0" err="1" smtClean="0"/>
              <a:t>state</a:t>
            </a:r>
            <a:r>
              <a:rPr lang="et-EE" dirty="0" smtClean="0"/>
              <a:t> </a:t>
            </a:r>
            <a:r>
              <a:rPr lang="et-EE" dirty="0" err="1" smtClean="0"/>
              <a:t>devops</a:t>
            </a:r>
            <a:r>
              <a:rPr lang="et-EE" dirty="0" smtClean="0"/>
              <a:t> </a:t>
            </a:r>
            <a:r>
              <a:rPr lang="et-EE" dirty="0" err="1" smtClean="0"/>
              <a:t>ops-focused</a:t>
            </a:r>
            <a:r>
              <a:rPr lang="et-EE" dirty="0" smtClean="0"/>
              <a:t> </a:t>
            </a:r>
            <a:r>
              <a:rPr lang="et-EE" dirty="0" err="1" smtClean="0"/>
              <a:t>people</a:t>
            </a:r>
            <a:r>
              <a:rPr lang="et-EE" dirty="0" smtClean="0"/>
              <a:t>)</a:t>
            </a:r>
            <a:endParaRPr lang="et-EE" dirty="0"/>
          </a:p>
          <a:p>
            <a:pPr lvl="1"/>
            <a:r>
              <a:rPr lang="et-EE" dirty="0" smtClean="0"/>
              <a:t>3 </a:t>
            </a:r>
            <a:r>
              <a:rPr lang="et-EE" dirty="0" err="1" smtClean="0"/>
              <a:t>can</a:t>
            </a:r>
            <a:r>
              <a:rPr lang="et-EE" dirty="0" smtClean="0"/>
              <a:t> </a:t>
            </a:r>
            <a:r>
              <a:rPr lang="et-EE" dirty="0" err="1" smtClean="0"/>
              <a:t>train</a:t>
            </a:r>
            <a:r>
              <a:rPr lang="et-EE" dirty="0" smtClean="0"/>
              <a:t> and </a:t>
            </a:r>
            <a:r>
              <a:rPr lang="et-EE" dirty="0" err="1" smtClean="0"/>
              <a:t>support</a:t>
            </a:r>
            <a:r>
              <a:rPr lang="et-EE" dirty="0" smtClean="0"/>
              <a:t> </a:t>
            </a:r>
            <a:r>
              <a:rPr lang="et-EE" dirty="0" err="1" smtClean="0"/>
              <a:t>level</a:t>
            </a:r>
            <a:r>
              <a:rPr lang="et-EE" dirty="0" smtClean="0"/>
              <a:t> 2 </a:t>
            </a:r>
            <a:r>
              <a:rPr lang="et-EE" dirty="0" err="1" smtClean="0"/>
              <a:t>people</a:t>
            </a:r>
            <a:r>
              <a:rPr lang="et-EE" dirty="0" smtClean="0"/>
              <a:t> </a:t>
            </a:r>
          </a:p>
          <a:p>
            <a:r>
              <a:rPr lang="et-EE" dirty="0" err="1" smtClean="0"/>
              <a:t>For</a:t>
            </a:r>
            <a:r>
              <a:rPr lang="et-EE" dirty="0" smtClean="0"/>
              <a:t> </a:t>
            </a:r>
            <a:r>
              <a:rPr lang="et-EE" dirty="0" err="1" smtClean="0"/>
              <a:t>each</a:t>
            </a:r>
            <a:r>
              <a:rPr lang="et-EE" dirty="0" smtClean="0"/>
              <a:t> </a:t>
            </a:r>
            <a:r>
              <a:rPr lang="et-EE" dirty="0" err="1" smtClean="0"/>
              <a:t>ops</a:t>
            </a:r>
            <a:r>
              <a:rPr lang="et-EE" dirty="0" smtClean="0"/>
              <a:t> </a:t>
            </a:r>
            <a:r>
              <a:rPr lang="et-EE" dirty="0" err="1" smtClean="0"/>
              <a:t>competence</a:t>
            </a:r>
            <a:r>
              <a:rPr lang="et-EE" dirty="0" smtClean="0"/>
              <a:t> </a:t>
            </a:r>
            <a:r>
              <a:rPr lang="et-EE" dirty="0" err="1" smtClean="0"/>
              <a:t>specific</a:t>
            </a:r>
            <a:r>
              <a:rPr lang="et-EE" dirty="0" smtClean="0"/>
              <a:t> </a:t>
            </a:r>
            <a:r>
              <a:rPr lang="et-EE" dirty="0" err="1" smtClean="0"/>
              <a:t>requirements</a:t>
            </a:r>
            <a:r>
              <a:rPr lang="et-EE" dirty="0" smtClean="0"/>
              <a:t> </a:t>
            </a:r>
            <a:r>
              <a:rPr lang="et-EE" dirty="0" err="1" smtClean="0"/>
              <a:t>for</a:t>
            </a:r>
            <a:r>
              <a:rPr lang="et-EE" dirty="0" smtClean="0"/>
              <a:t> </a:t>
            </a:r>
            <a:r>
              <a:rPr lang="et-EE" dirty="0" err="1" smtClean="0"/>
              <a:t>competence</a:t>
            </a:r>
            <a:r>
              <a:rPr lang="et-EE" dirty="0" smtClean="0"/>
              <a:t> </a:t>
            </a:r>
            <a:r>
              <a:rPr lang="et-EE" dirty="0" err="1" smtClean="0"/>
              <a:t>levels</a:t>
            </a:r>
            <a:r>
              <a:rPr lang="et-EE" dirty="0" smtClean="0"/>
              <a:t> 1, 2, 3</a:t>
            </a:r>
          </a:p>
          <a:p>
            <a:pPr marL="0" indent="0">
              <a:buNone/>
            </a:pPr>
            <a:endParaRPr lang="et-EE" dirty="0" smtClean="0"/>
          </a:p>
        </p:txBody>
      </p:sp>
    </p:spTree>
    <p:extLst>
      <p:ext uri="{BB962C8B-B14F-4D97-AF65-F5344CB8AC3E}">
        <p14:creationId xmlns:p14="http://schemas.microsoft.com/office/powerpoint/2010/main" val="14664612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smtClean="0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/>
            <a:r>
              <a:rPr lang="et-EE" dirty="0" smtClean="0"/>
              <a:t>OPS </a:t>
            </a:r>
            <a:r>
              <a:rPr lang="et-EE" dirty="0" err="1" smtClean="0"/>
              <a:t>compentence</a:t>
            </a:r>
            <a:r>
              <a:rPr lang="et-EE" dirty="0" smtClean="0"/>
              <a:t> </a:t>
            </a:r>
            <a:r>
              <a:rPr lang="et-EE" dirty="0" err="1" smtClean="0"/>
              <a:t>hands</a:t>
            </a:r>
            <a:r>
              <a:rPr lang="et-EE" dirty="0" smtClean="0"/>
              <a:t>-on </a:t>
            </a:r>
            <a:r>
              <a:rPr lang="et-EE" dirty="0" err="1" smtClean="0"/>
              <a:t>training</a:t>
            </a:r>
            <a:r>
              <a:rPr lang="et-EE" dirty="0" smtClean="0"/>
              <a:t> programme </a:t>
            </a:r>
            <a:endParaRPr lang="et-E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/>
            <a:r>
              <a:rPr lang="et-EE" dirty="0" err="1" smtClean="0"/>
              <a:t>Devops</a:t>
            </a:r>
            <a:r>
              <a:rPr lang="et-EE" dirty="0" smtClean="0"/>
              <a:t> </a:t>
            </a:r>
            <a:r>
              <a:rPr lang="et-EE" dirty="0" err="1" smtClean="0"/>
              <a:t>team’s</a:t>
            </a:r>
            <a:r>
              <a:rPr lang="et-EE" dirty="0" smtClean="0"/>
              <a:t> </a:t>
            </a:r>
            <a:r>
              <a:rPr lang="et-EE" dirty="0" err="1" smtClean="0"/>
              <a:t>ops-focused</a:t>
            </a:r>
            <a:r>
              <a:rPr lang="et-EE" dirty="0" smtClean="0"/>
              <a:t> </a:t>
            </a:r>
            <a:r>
              <a:rPr lang="et-EE" dirty="0" err="1"/>
              <a:t>people</a:t>
            </a:r>
            <a:r>
              <a:rPr lang="et-EE" dirty="0"/>
              <a:t> </a:t>
            </a:r>
            <a:r>
              <a:rPr lang="et-EE" dirty="0" err="1"/>
              <a:t>self-evaluation</a:t>
            </a:r>
            <a:r>
              <a:rPr lang="et-EE" dirty="0"/>
              <a:t> </a:t>
            </a:r>
            <a:r>
              <a:rPr lang="et-EE" dirty="0" err="1"/>
              <a:t>per</a:t>
            </a:r>
            <a:r>
              <a:rPr lang="et-EE" dirty="0"/>
              <a:t> </a:t>
            </a:r>
            <a:r>
              <a:rPr lang="et-EE" dirty="0" err="1"/>
              <a:t>competence</a:t>
            </a:r>
            <a:r>
              <a:rPr lang="et-EE" dirty="0"/>
              <a:t> </a:t>
            </a:r>
            <a:r>
              <a:rPr lang="et-EE" dirty="0" err="1" smtClean="0"/>
              <a:t>areas</a:t>
            </a:r>
            <a:r>
              <a:rPr lang="et-EE" dirty="0" smtClean="0"/>
              <a:t> (see </a:t>
            </a:r>
            <a:r>
              <a:rPr lang="et-EE" dirty="0" err="1" smtClean="0"/>
              <a:t>previous</a:t>
            </a:r>
            <a:r>
              <a:rPr lang="et-EE" dirty="0" smtClean="0"/>
              <a:t> </a:t>
            </a:r>
            <a:r>
              <a:rPr lang="et-EE" dirty="0" err="1" smtClean="0"/>
              <a:t>slide</a:t>
            </a:r>
            <a:r>
              <a:rPr lang="et-EE" dirty="0" smtClean="0"/>
              <a:t>)</a:t>
            </a:r>
            <a:endParaRPr lang="et-EE" dirty="0"/>
          </a:p>
          <a:p>
            <a:pPr marL="285750" indent="-285750"/>
            <a:r>
              <a:rPr lang="et-EE" dirty="0" err="1"/>
              <a:t>Based</a:t>
            </a:r>
            <a:r>
              <a:rPr lang="et-EE" dirty="0"/>
              <a:t> on </a:t>
            </a:r>
            <a:r>
              <a:rPr lang="et-EE" dirty="0" err="1"/>
              <a:t>the</a:t>
            </a:r>
            <a:r>
              <a:rPr lang="et-EE" dirty="0"/>
              <a:t> </a:t>
            </a:r>
            <a:r>
              <a:rPr lang="et-EE" dirty="0" err="1"/>
              <a:t>evaluation</a:t>
            </a:r>
            <a:r>
              <a:rPr lang="et-EE" dirty="0"/>
              <a:t> </a:t>
            </a:r>
            <a:r>
              <a:rPr lang="et-EE" dirty="0" err="1"/>
              <a:t>results</a:t>
            </a:r>
            <a:r>
              <a:rPr lang="et-EE" dirty="0"/>
              <a:t> and </a:t>
            </a:r>
            <a:r>
              <a:rPr lang="et-EE" dirty="0" err="1"/>
              <a:t>interviews</a:t>
            </a:r>
            <a:r>
              <a:rPr lang="et-EE" dirty="0"/>
              <a:t> </a:t>
            </a:r>
            <a:r>
              <a:rPr lang="et-EE" dirty="0" err="1"/>
              <a:t>hands</a:t>
            </a:r>
            <a:r>
              <a:rPr lang="et-EE" dirty="0"/>
              <a:t>-on </a:t>
            </a:r>
            <a:r>
              <a:rPr lang="et-EE" dirty="0" err="1"/>
              <a:t>training</a:t>
            </a:r>
            <a:r>
              <a:rPr lang="et-EE" dirty="0"/>
              <a:t> </a:t>
            </a:r>
            <a:r>
              <a:rPr lang="et-EE" dirty="0" smtClean="0"/>
              <a:t>programme </a:t>
            </a:r>
            <a:endParaRPr lang="et-EE" dirty="0"/>
          </a:p>
          <a:p>
            <a:pPr marL="285750"/>
            <a:r>
              <a:rPr lang="et-EE" dirty="0" err="1"/>
              <a:t>Both</a:t>
            </a:r>
            <a:r>
              <a:rPr lang="et-EE" dirty="0"/>
              <a:t> </a:t>
            </a:r>
            <a:r>
              <a:rPr lang="et-EE" dirty="0" err="1"/>
              <a:t>internal</a:t>
            </a:r>
            <a:r>
              <a:rPr lang="et-EE" dirty="0"/>
              <a:t> and </a:t>
            </a:r>
            <a:r>
              <a:rPr lang="et-EE" dirty="0" err="1"/>
              <a:t>external</a:t>
            </a:r>
            <a:r>
              <a:rPr lang="et-EE" dirty="0"/>
              <a:t> </a:t>
            </a:r>
            <a:r>
              <a:rPr lang="et-EE" dirty="0" err="1"/>
              <a:t>trainings</a:t>
            </a:r>
            <a:r>
              <a:rPr lang="et-EE" dirty="0"/>
              <a:t> </a:t>
            </a:r>
            <a:r>
              <a:rPr lang="et-EE" dirty="0" smtClean="0"/>
              <a:t>(</a:t>
            </a:r>
            <a:r>
              <a:rPr lang="et-EE" dirty="0" err="1" smtClean="0"/>
              <a:t>security</a:t>
            </a:r>
            <a:r>
              <a:rPr lang="et-EE" dirty="0"/>
              <a:t>, </a:t>
            </a:r>
            <a:r>
              <a:rPr lang="et-EE" dirty="0" err="1"/>
              <a:t>VMware</a:t>
            </a:r>
            <a:r>
              <a:rPr lang="et-EE" dirty="0"/>
              <a:t>, </a:t>
            </a:r>
            <a:r>
              <a:rPr lang="et-EE" dirty="0" err="1"/>
              <a:t>backup</a:t>
            </a:r>
            <a:r>
              <a:rPr lang="et-EE" dirty="0"/>
              <a:t>, </a:t>
            </a:r>
            <a:r>
              <a:rPr lang="et-EE" dirty="0" err="1" smtClean="0"/>
              <a:t>linux</a:t>
            </a:r>
            <a:r>
              <a:rPr lang="et-EE" dirty="0" smtClean="0"/>
              <a:t> </a:t>
            </a:r>
            <a:r>
              <a:rPr lang="et-EE" dirty="0" err="1" smtClean="0"/>
              <a:t>etc</a:t>
            </a:r>
            <a:r>
              <a:rPr lang="et-EE" dirty="0" smtClean="0"/>
              <a:t>)</a:t>
            </a:r>
          </a:p>
          <a:p>
            <a:pPr marL="285750"/>
            <a:r>
              <a:rPr lang="et-EE" dirty="0" err="1" smtClean="0"/>
              <a:t>First</a:t>
            </a:r>
            <a:r>
              <a:rPr lang="et-EE" dirty="0" smtClean="0"/>
              <a:t> </a:t>
            </a:r>
            <a:r>
              <a:rPr lang="et-EE" dirty="0" err="1" smtClean="0"/>
              <a:t>trainings</a:t>
            </a:r>
            <a:r>
              <a:rPr lang="et-EE" dirty="0" smtClean="0"/>
              <a:t> </a:t>
            </a:r>
            <a:r>
              <a:rPr lang="et-EE" dirty="0" err="1" smtClean="0"/>
              <a:t>started</a:t>
            </a:r>
            <a:r>
              <a:rPr lang="et-EE" dirty="0" smtClean="0"/>
              <a:t> </a:t>
            </a:r>
            <a:r>
              <a:rPr lang="et-EE" dirty="0" err="1" smtClean="0"/>
              <a:t>this</a:t>
            </a:r>
            <a:r>
              <a:rPr lang="et-EE" dirty="0" smtClean="0"/>
              <a:t> </a:t>
            </a:r>
            <a:r>
              <a:rPr lang="et-EE" dirty="0" err="1" smtClean="0"/>
              <a:t>January</a:t>
            </a:r>
            <a:endParaRPr lang="et-EE" dirty="0" smtClean="0"/>
          </a:p>
          <a:p>
            <a:pPr marL="285750"/>
            <a:r>
              <a:rPr lang="et-EE" dirty="0" smtClean="0"/>
              <a:t>2 </a:t>
            </a:r>
            <a:r>
              <a:rPr lang="et-EE" dirty="0" err="1" smtClean="0"/>
              <a:t>ops-focused</a:t>
            </a:r>
            <a:r>
              <a:rPr lang="et-EE" dirty="0" smtClean="0"/>
              <a:t> </a:t>
            </a:r>
            <a:r>
              <a:rPr lang="et-EE" dirty="0" err="1" smtClean="0"/>
              <a:t>specialists</a:t>
            </a:r>
            <a:r>
              <a:rPr lang="et-EE" dirty="0" smtClean="0"/>
              <a:t> </a:t>
            </a:r>
            <a:r>
              <a:rPr lang="et-EE" dirty="0" err="1" smtClean="0"/>
              <a:t>per</a:t>
            </a:r>
            <a:r>
              <a:rPr lang="et-EE" dirty="0" smtClean="0"/>
              <a:t> </a:t>
            </a:r>
            <a:r>
              <a:rPr lang="et-EE" dirty="0" err="1" smtClean="0"/>
              <a:t>team</a:t>
            </a:r>
            <a:r>
              <a:rPr lang="et-EE" dirty="0" smtClean="0"/>
              <a:t> </a:t>
            </a:r>
            <a:r>
              <a:rPr lang="et-EE" dirty="0" err="1" smtClean="0"/>
              <a:t>achieved</a:t>
            </a:r>
            <a:r>
              <a:rPr lang="et-EE" dirty="0" smtClean="0"/>
              <a:t> level2 in </a:t>
            </a:r>
            <a:r>
              <a:rPr lang="et-EE" dirty="0" err="1" smtClean="0"/>
              <a:t>needed</a:t>
            </a:r>
            <a:r>
              <a:rPr lang="et-EE" dirty="0" smtClean="0"/>
              <a:t> </a:t>
            </a:r>
            <a:r>
              <a:rPr lang="et-EE" dirty="0" err="1" smtClean="0"/>
              <a:t>competences</a:t>
            </a:r>
            <a:r>
              <a:rPr lang="et-EE" dirty="0" smtClean="0"/>
              <a:t> 2017Q2</a:t>
            </a:r>
          </a:p>
          <a:p>
            <a:pPr marL="285750"/>
            <a:r>
              <a:rPr lang="et-EE" dirty="0" err="1" smtClean="0"/>
              <a:t>Dev-focused</a:t>
            </a:r>
            <a:r>
              <a:rPr lang="et-EE" dirty="0" smtClean="0"/>
              <a:t> </a:t>
            </a:r>
            <a:r>
              <a:rPr lang="et-EE" dirty="0" err="1" smtClean="0"/>
              <a:t>people</a:t>
            </a:r>
            <a:r>
              <a:rPr lang="et-EE" dirty="0" smtClean="0"/>
              <a:t> </a:t>
            </a:r>
            <a:r>
              <a:rPr lang="et-EE" dirty="0" err="1" smtClean="0"/>
              <a:t>will</a:t>
            </a:r>
            <a:r>
              <a:rPr lang="et-EE" dirty="0" smtClean="0"/>
              <a:t> </a:t>
            </a:r>
            <a:r>
              <a:rPr lang="et-EE" dirty="0" err="1" smtClean="0"/>
              <a:t>achieve</a:t>
            </a:r>
            <a:r>
              <a:rPr lang="et-EE" dirty="0" smtClean="0"/>
              <a:t> level1 in </a:t>
            </a:r>
            <a:r>
              <a:rPr lang="et-EE" dirty="0" err="1" smtClean="0"/>
              <a:t>needed</a:t>
            </a:r>
            <a:r>
              <a:rPr lang="et-EE" dirty="0" smtClean="0"/>
              <a:t> </a:t>
            </a:r>
            <a:r>
              <a:rPr lang="et-EE" err="1" smtClean="0"/>
              <a:t>competences</a:t>
            </a:r>
            <a:r>
              <a:rPr lang="et-EE" smtClean="0"/>
              <a:t> 2017Q4</a:t>
            </a:r>
            <a:endParaRPr lang="et-EE" dirty="0" smtClean="0"/>
          </a:p>
          <a:p>
            <a:pPr marL="285750"/>
            <a:r>
              <a:rPr lang="et-EE" dirty="0" err="1" smtClean="0"/>
              <a:t>Lab</a:t>
            </a:r>
            <a:r>
              <a:rPr lang="et-EE" dirty="0" smtClean="0"/>
              <a:t> </a:t>
            </a:r>
            <a:r>
              <a:rPr lang="et-EE" dirty="0" err="1" smtClean="0"/>
              <a:t>environments</a:t>
            </a:r>
            <a:r>
              <a:rPr lang="et-EE" dirty="0" smtClean="0"/>
              <a:t> </a:t>
            </a:r>
            <a:r>
              <a:rPr lang="et-EE" dirty="0" err="1" smtClean="0"/>
              <a:t>for</a:t>
            </a:r>
            <a:r>
              <a:rPr lang="et-EE" dirty="0" smtClean="0"/>
              <a:t> </a:t>
            </a:r>
            <a:r>
              <a:rPr lang="et-EE" dirty="0" err="1" smtClean="0"/>
              <a:t>trying</a:t>
            </a:r>
            <a:r>
              <a:rPr lang="et-EE" dirty="0" smtClean="0"/>
              <a:t> </a:t>
            </a:r>
            <a:r>
              <a:rPr lang="et-EE" dirty="0" err="1" smtClean="0"/>
              <a:t>things</a:t>
            </a:r>
            <a:r>
              <a:rPr lang="et-EE" dirty="0" smtClean="0"/>
              <a:t> </a:t>
            </a:r>
            <a:r>
              <a:rPr lang="et-EE" dirty="0" err="1" smtClean="0"/>
              <a:t>out</a:t>
            </a:r>
            <a:endParaRPr lang="et-EE" dirty="0" smtClean="0"/>
          </a:p>
          <a:p>
            <a:pPr marL="285750"/>
            <a:r>
              <a:rPr lang="et-EE" dirty="0" err="1" smtClean="0"/>
              <a:t>Specific</a:t>
            </a:r>
            <a:r>
              <a:rPr lang="et-EE" dirty="0" smtClean="0"/>
              <a:t> </a:t>
            </a:r>
            <a:r>
              <a:rPr lang="et-EE" dirty="0" err="1" smtClean="0"/>
              <a:t>competence</a:t>
            </a:r>
            <a:r>
              <a:rPr lang="et-EE" dirty="0" smtClean="0"/>
              <a:t> </a:t>
            </a:r>
            <a:r>
              <a:rPr lang="et-EE" dirty="0" err="1" smtClean="0"/>
              <a:t>needs</a:t>
            </a:r>
            <a:r>
              <a:rPr lang="et-EE" dirty="0" smtClean="0"/>
              <a:t> </a:t>
            </a:r>
            <a:r>
              <a:rPr lang="et-EE" dirty="0" err="1" smtClean="0"/>
              <a:t>handled</a:t>
            </a:r>
            <a:r>
              <a:rPr lang="et-EE" dirty="0" smtClean="0"/>
              <a:t> </a:t>
            </a:r>
            <a:r>
              <a:rPr lang="et-EE" dirty="0" err="1" smtClean="0"/>
              <a:t>separately</a:t>
            </a:r>
            <a:r>
              <a:rPr lang="et-EE" dirty="0" smtClean="0"/>
              <a:t> </a:t>
            </a:r>
            <a:r>
              <a:rPr lang="et-EE" dirty="0" err="1" smtClean="0"/>
              <a:t>by</a:t>
            </a:r>
            <a:r>
              <a:rPr lang="et-EE" dirty="0" smtClean="0"/>
              <a:t> </a:t>
            </a:r>
            <a:r>
              <a:rPr lang="et-EE" dirty="0" err="1" smtClean="0"/>
              <a:t>competence</a:t>
            </a:r>
            <a:r>
              <a:rPr lang="et-EE" dirty="0" smtClean="0"/>
              <a:t> </a:t>
            </a:r>
            <a:r>
              <a:rPr lang="et-EE" dirty="0" err="1" smtClean="0"/>
              <a:t>area</a:t>
            </a:r>
            <a:r>
              <a:rPr lang="et-EE" dirty="0" smtClean="0"/>
              <a:t> </a:t>
            </a:r>
            <a:r>
              <a:rPr lang="et-EE" dirty="0" err="1" smtClean="0"/>
              <a:t>managers</a:t>
            </a:r>
            <a:endParaRPr lang="et-EE" dirty="0" smtClean="0"/>
          </a:p>
          <a:p>
            <a:pPr marL="577350" lvl="1"/>
            <a:endParaRPr lang="et-EE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1950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smtClean="0"/>
              <a:t>OPS </a:t>
            </a:r>
            <a:r>
              <a:rPr lang="et-EE" dirty="0" err="1" smtClean="0"/>
              <a:t>Mentorship</a:t>
            </a:r>
            <a:r>
              <a:rPr lang="et-EE" dirty="0" smtClean="0"/>
              <a:t> programm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838199" y="1185553"/>
            <a:ext cx="10908957" cy="4760055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t-EE" dirty="0" err="1" smtClean="0"/>
              <a:t>For</a:t>
            </a:r>
            <a:r>
              <a:rPr lang="et-EE" dirty="0" smtClean="0"/>
              <a:t> </a:t>
            </a:r>
            <a:r>
              <a:rPr lang="et-EE" dirty="0" err="1" smtClean="0"/>
              <a:t>supporting</a:t>
            </a:r>
            <a:r>
              <a:rPr lang="et-EE" dirty="0" smtClean="0"/>
              <a:t> </a:t>
            </a:r>
            <a:r>
              <a:rPr lang="et-EE" dirty="0" err="1" smtClean="0"/>
              <a:t>teams</a:t>
            </a:r>
            <a:r>
              <a:rPr lang="et-EE" dirty="0" smtClean="0"/>
              <a:t> </a:t>
            </a:r>
            <a:r>
              <a:rPr lang="et-EE" dirty="0" err="1" smtClean="0"/>
              <a:t>achieving</a:t>
            </a:r>
            <a:r>
              <a:rPr lang="et-EE" dirty="0" smtClean="0"/>
              <a:t> </a:t>
            </a:r>
            <a:r>
              <a:rPr lang="et-EE" dirty="0" err="1" smtClean="0"/>
              <a:t>ops</a:t>
            </a:r>
            <a:r>
              <a:rPr lang="et-EE" dirty="0" smtClean="0"/>
              <a:t> </a:t>
            </a:r>
            <a:r>
              <a:rPr lang="et-EE" dirty="0" err="1" smtClean="0"/>
              <a:t>competence</a:t>
            </a:r>
            <a:r>
              <a:rPr lang="et-EE" dirty="0" smtClean="0"/>
              <a:t> level2 </a:t>
            </a:r>
            <a:r>
              <a:rPr lang="et-EE" dirty="0" err="1" smtClean="0"/>
              <a:t>we</a:t>
            </a:r>
            <a:r>
              <a:rPr lang="et-EE" dirty="0" smtClean="0"/>
              <a:t> </a:t>
            </a:r>
            <a:r>
              <a:rPr lang="et-EE" dirty="0" err="1" smtClean="0"/>
              <a:t>initated</a:t>
            </a:r>
            <a:r>
              <a:rPr lang="et-EE" dirty="0" smtClean="0"/>
              <a:t> a </a:t>
            </a:r>
            <a:r>
              <a:rPr lang="et-EE" dirty="0" err="1" smtClean="0"/>
              <a:t>mentorship</a:t>
            </a:r>
            <a:r>
              <a:rPr lang="et-EE" dirty="0" smtClean="0"/>
              <a:t> programme </a:t>
            </a:r>
          </a:p>
          <a:p>
            <a:r>
              <a:rPr lang="et-EE" dirty="0" err="1" smtClean="0"/>
              <a:t>Each</a:t>
            </a:r>
            <a:r>
              <a:rPr lang="et-EE" dirty="0" smtClean="0"/>
              <a:t> </a:t>
            </a:r>
            <a:r>
              <a:rPr lang="et-EE" dirty="0" err="1" smtClean="0"/>
              <a:t>team</a:t>
            </a:r>
            <a:r>
              <a:rPr lang="et-EE" dirty="0" smtClean="0"/>
              <a:t> </a:t>
            </a:r>
            <a:r>
              <a:rPr lang="et-EE" dirty="0" err="1" smtClean="0"/>
              <a:t>needing</a:t>
            </a:r>
            <a:r>
              <a:rPr lang="et-EE" dirty="0" smtClean="0"/>
              <a:t> </a:t>
            </a:r>
            <a:r>
              <a:rPr lang="et-EE" dirty="0" err="1" smtClean="0"/>
              <a:t>regular</a:t>
            </a:r>
            <a:r>
              <a:rPr lang="et-EE" dirty="0" smtClean="0"/>
              <a:t> </a:t>
            </a:r>
            <a:r>
              <a:rPr lang="et-EE" dirty="0" err="1" smtClean="0"/>
              <a:t>support</a:t>
            </a:r>
            <a:r>
              <a:rPr lang="et-EE" dirty="0" smtClean="0"/>
              <a:t> </a:t>
            </a:r>
            <a:r>
              <a:rPr lang="et-EE" dirty="0" err="1" smtClean="0"/>
              <a:t>got</a:t>
            </a:r>
            <a:r>
              <a:rPr lang="et-EE" dirty="0" smtClean="0"/>
              <a:t> a personal mentor</a:t>
            </a:r>
          </a:p>
          <a:p>
            <a:r>
              <a:rPr lang="et-EE" dirty="0" err="1" smtClean="0"/>
              <a:t>Mentors</a:t>
            </a:r>
            <a:r>
              <a:rPr lang="et-EE" dirty="0" smtClean="0"/>
              <a:t> </a:t>
            </a:r>
            <a:r>
              <a:rPr lang="et-EE" dirty="0" err="1" smtClean="0"/>
              <a:t>were</a:t>
            </a:r>
            <a:r>
              <a:rPr lang="et-EE" dirty="0" smtClean="0"/>
              <a:t> „</a:t>
            </a:r>
            <a:r>
              <a:rPr lang="et-EE" dirty="0" err="1" smtClean="0"/>
              <a:t>recruited</a:t>
            </a:r>
            <a:r>
              <a:rPr lang="et-EE" dirty="0" smtClean="0"/>
              <a:t>“ </a:t>
            </a:r>
            <a:r>
              <a:rPr lang="et-EE" dirty="0" err="1" smtClean="0"/>
              <a:t>from</a:t>
            </a:r>
            <a:r>
              <a:rPr lang="et-EE" dirty="0" smtClean="0"/>
              <a:t> </a:t>
            </a:r>
            <a:r>
              <a:rPr lang="et-EE" dirty="0" err="1" smtClean="0"/>
              <a:t>former</a:t>
            </a:r>
            <a:r>
              <a:rPr lang="et-EE" dirty="0" smtClean="0"/>
              <a:t> </a:t>
            </a:r>
            <a:r>
              <a:rPr lang="et-EE" dirty="0" err="1" smtClean="0"/>
              <a:t>sysadmin</a:t>
            </a:r>
            <a:r>
              <a:rPr lang="et-EE" dirty="0" smtClean="0"/>
              <a:t> </a:t>
            </a:r>
            <a:r>
              <a:rPr lang="et-EE" dirty="0" err="1" smtClean="0"/>
              <a:t>teams</a:t>
            </a:r>
            <a:r>
              <a:rPr lang="et-EE" dirty="0"/>
              <a:t> </a:t>
            </a:r>
            <a:r>
              <a:rPr lang="et-EE" dirty="0" err="1" smtClean="0"/>
              <a:t>who</a:t>
            </a:r>
            <a:r>
              <a:rPr lang="et-EE" dirty="0" smtClean="0"/>
              <a:t> </a:t>
            </a:r>
            <a:r>
              <a:rPr lang="et-EE" dirty="0" err="1" smtClean="0"/>
              <a:t>already</a:t>
            </a:r>
            <a:r>
              <a:rPr lang="et-EE" dirty="0" smtClean="0"/>
              <a:t> </a:t>
            </a:r>
            <a:r>
              <a:rPr lang="et-EE" dirty="0" err="1" smtClean="0"/>
              <a:t>had</a:t>
            </a:r>
            <a:r>
              <a:rPr lang="et-EE" dirty="0" smtClean="0"/>
              <a:t> </a:t>
            </a:r>
            <a:r>
              <a:rPr lang="et-EE" dirty="0" err="1" smtClean="0"/>
              <a:t>competence</a:t>
            </a:r>
            <a:r>
              <a:rPr lang="et-EE" dirty="0" smtClean="0"/>
              <a:t> level2-3</a:t>
            </a:r>
            <a:endParaRPr lang="et-EE" dirty="0"/>
          </a:p>
          <a:p>
            <a:r>
              <a:rPr lang="et-EE" dirty="0" err="1"/>
              <a:t>Mentors</a:t>
            </a:r>
            <a:r>
              <a:rPr lang="et-EE" dirty="0"/>
              <a:t> </a:t>
            </a:r>
            <a:r>
              <a:rPr lang="et-EE" dirty="0" err="1" smtClean="0"/>
              <a:t>got</a:t>
            </a:r>
            <a:r>
              <a:rPr lang="et-EE" dirty="0" smtClean="0"/>
              <a:t> </a:t>
            </a:r>
            <a:r>
              <a:rPr lang="et-EE" dirty="0"/>
              <a:t>a </a:t>
            </a:r>
            <a:r>
              <a:rPr lang="et-EE" dirty="0" err="1"/>
              <a:t>monthly</a:t>
            </a:r>
            <a:r>
              <a:rPr lang="et-EE" dirty="0"/>
              <a:t> </a:t>
            </a:r>
            <a:r>
              <a:rPr lang="et-EE" dirty="0" err="1"/>
              <a:t>fixed</a:t>
            </a:r>
            <a:r>
              <a:rPr lang="et-EE" dirty="0"/>
              <a:t> </a:t>
            </a:r>
            <a:r>
              <a:rPr lang="et-EE" dirty="0" err="1"/>
              <a:t>bonus</a:t>
            </a:r>
            <a:r>
              <a:rPr lang="et-EE" dirty="0"/>
              <a:t> </a:t>
            </a:r>
            <a:r>
              <a:rPr lang="et-EE" dirty="0" err="1"/>
              <a:t>to</a:t>
            </a:r>
            <a:r>
              <a:rPr lang="et-EE" dirty="0"/>
              <a:t> </a:t>
            </a:r>
            <a:r>
              <a:rPr lang="et-EE" dirty="0" err="1"/>
              <a:t>normal</a:t>
            </a:r>
            <a:r>
              <a:rPr lang="et-EE" dirty="0"/>
              <a:t> </a:t>
            </a:r>
            <a:r>
              <a:rPr lang="et-EE" dirty="0" err="1"/>
              <a:t>salary</a:t>
            </a:r>
            <a:r>
              <a:rPr lang="et-EE" b="1" dirty="0"/>
              <a:t> </a:t>
            </a:r>
          </a:p>
          <a:p>
            <a:r>
              <a:rPr lang="et-EE" dirty="0" smtClean="0"/>
              <a:t>In </a:t>
            </a:r>
            <a:r>
              <a:rPr lang="et-EE" dirty="0" err="1"/>
              <a:t>most</a:t>
            </a:r>
            <a:r>
              <a:rPr lang="et-EE" dirty="0"/>
              <a:t> </a:t>
            </a:r>
            <a:r>
              <a:rPr lang="et-EE" dirty="0" err="1"/>
              <a:t>cases</a:t>
            </a:r>
            <a:r>
              <a:rPr lang="et-EE" dirty="0"/>
              <a:t> </a:t>
            </a:r>
            <a:r>
              <a:rPr lang="et-EE" dirty="0" err="1"/>
              <a:t>the</a:t>
            </a:r>
            <a:r>
              <a:rPr lang="et-EE" dirty="0"/>
              <a:t> </a:t>
            </a:r>
            <a:r>
              <a:rPr lang="et-EE" dirty="0" smtClean="0"/>
              <a:t>mentor </a:t>
            </a:r>
            <a:r>
              <a:rPr lang="et-EE" dirty="0" err="1" smtClean="0"/>
              <a:t>selected</a:t>
            </a:r>
            <a:r>
              <a:rPr lang="et-EE" dirty="0" smtClean="0"/>
              <a:t> a </a:t>
            </a:r>
            <a:r>
              <a:rPr lang="et-EE" dirty="0" err="1"/>
              <a:t>team</a:t>
            </a:r>
            <a:r>
              <a:rPr lang="et-EE" dirty="0"/>
              <a:t>, </a:t>
            </a:r>
            <a:r>
              <a:rPr lang="et-EE" dirty="0" err="1"/>
              <a:t>usually</a:t>
            </a:r>
            <a:r>
              <a:rPr lang="et-EE" dirty="0"/>
              <a:t> </a:t>
            </a:r>
            <a:r>
              <a:rPr lang="et-EE" dirty="0" err="1"/>
              <a:t>it</a:t>
            </a:r>
            <a:r>
              <a:rPr lang="et-EE" dirty="0"/>
              <a:t> </a:t>
            </a:r>
            <a:r>
              <a:rPr lang="et-EE" dirty="0" err="1" smtClean="0"/>
              <a:t>was</a:t>
            </a:r>
            <a:r>
              <a:rPr lang="et-EE" dirty="0" smtClean="0"/>
              <a:t> </a:t>
            </a:r>
            <a:r>
              <a:rPr lang="et-EE" dirty="0" err="1"/>
              <a:t>the</a:t>
            </a:r>
            <a:r>
              <a:rPr lang="et-EE" dirty="0"/>
              <a:t> </a:t>
            </a:r>
            <a:r>
              <a:rPr lang="et-EE" dirty="0" err="1"/>
              <a:t>team</a:t>
            </a:r>
            <a:r>
              <a:rPr lang="et-EE" dirty="0"/>
              <a:t> </a:t>
            </a:r>
            <a:r>
              <a:rPr lang="et-EE" dirty="0" err="1"/>
              <a:t>he</a:t>
            </a:r>
            <a:r>
              <a:rPr lang="et-EE" dirty="0"/>
              <a:t> </a:t>
            </a:r>
            <a:r>
              <a:rPr lang="et-EE" dirty="0" err="1" smtClean="0"/>
              <a:t>had</a:t>
            </a:r>
            <a:r>
              <a:rPr lang="et-EE" dirty="0" smtClean="0"/>
              <a:t> </a:t>
            </a:r>
            <a:r>
              <a:rPr lang="et-EE" dirty="0" err="1"/>
              <a:t>handovers</a:t>
            </a:r>
            <a:r>
              <a:rPr lang="et-EE" dirty="0"/>
              <a:t> </a:t>
            </a:r>
            <a:r>
              <a:rPr lang="et-EE" dirty="0" err="1"/>
              <a:t>ongoing</a:t>
            </a:r>
            <a:endParaRPr lang="et-EE" dirty="0"/>
          </a:p>
          <a:p>
            <a:r>
              <a:rPr lang="et-EE" dirty="0" err="1" smtClean="0"/>
              <a:t>Mentors</a:t>
            </a:r>
            <a:r>
              <a:rPr lang="et-EE" dirty="0" smtClean="0"/>
              <a:t> </a:t>
            </a:r>
            <a:r>
              <a:rPr lang="et-EE" dirty="0" err="1" smtClean="0"/>
              <a:t>supported</a:t>
            </a:r>
            <a:r>
              <a:rPr lang="et-EE" dirty="0" smtClean="0"/>
              <a:t> </a:t>
            </a:r>
            <a:r>
              <a:rPr lang="et-EE" dirty="0" err="1" smtClean="0"/>
              <a:t>teams</a:t>
            </a:r>
            <a:r>
              <a:rPr lang="et-EE" dirty="0" smtClean="0"/>
              <a:t> on Linux and MS </a:t>
            </a:r>
            <a:r>
              <a:rPr lang="et-EE" dirty="0" err="1" smtClean="0"/>
              <a:t>competences</a:t>
            </a:r>
            <a:endParaRPr lang="et-EE" dirty="0" smtClean="0"/>
          </a:p>
          <a:p>
            <a:r>
              <a:rPr lang="et-EE" dirty="0" err="1" smtClean="0"/>
              <a:t>Each</a:t>
            </a:r>
            <a:r>
              <a:rPr lang="et-EE" dirty="0" smtClean="0"/>
              <a:t> mentor </a:t>
            </a:r>
            <a:r>
              <a:rPr lang="et-EE" dirty="0" err="1" smtClean="0"/>
              <a:t>created</a:t>
            </a:r>
            <a:r>
              <a:rPr lang="et-EE" dirty="0" smtClean="0"/>
              <a:t> a </a:t>
            </a:r>
            <a:r>
              <a:rPr lang="et-EE" dirty="0" err="1" smtClean="0"/>
              <a:t>competence</a:t>
            </a:r>
            <a:r>
              <a:rPr lang="et-EE" dirty="0" smtClean="0"/>
              <a:t> </a:t>
            </a:r>
            <a:r>
              <a:rPr lang="et-EE" dirty="0" err="1" smtClean="0"/>
              <a:t>development</a:t>
            </a:r>
            <a:r>
              <a:rPr lang="et-EE" dirty="0" smtClean="0"/>
              <a:t> </a:t>
            </a:r>
            <a:r>
              <a:rPr lang="et-EE" dirty="0" err="1" smtClean="0"/>
              <a:t>plan</a:t>
            </a:r>
            <a:r>
              <a:rPr lang="et-EE" dirty="0" smtClean="0"/>
              <a:t> </a:t>
            </a:r>
            <a:r>
              <a:rPr lang="et-EE" dirty="0" err="1" smtClean="0"/>
              <a:t>with</a:t>
            </a:r>
            <a:r>
              <a:rPr lang="et-EE" dirty="0" smtClean="0"/>
              <a:t> </a:t>
            </a:r>
            <a:r>
              <a:rPr lang="et-EE" dirty="0" err="1" smtClean="0"/>
              <a:t>his</a:t>
            </a:r>
            <a:r>
              <a:rPr lang="et-EE" dirty="0" smtClean="0"/>
              <a:t> </a:t>
            </a:r>
            <a:r>
              <a:rPr lang="et-EE" dirty="0" err="1" smtClean="0"/>
              <a:t>mentee</a:t>
            </a:r>
            <a:r>
              <a:rPr lang="et-EE" dirty="0" smtClean="0"/>
              <a:t> and </a:t>
            </a:r>
            <a:r>
              <a:rPr lang="et-EE" dirty="0" err="1" smtClean="0"/>
              <a:t>his</a:t>
            </a:r>
            <a:r>
              <a:rPr lang="et-EE" dirty="0" smtClean="0"/>
              <a:t> </a:t>
            </a:r>
            <a:r>
              <a:rPr lang="et-EE" dirty="0" err="1" smtClean="0"/>
              <a:t>teamlead</a:t>
            </a:r>
            <a:endParaRPr lang="et-EE" dirty="0"/>
          </a:p>
          <a:p>
            <a:r>
              <a:rPr lang="et-EE" dirty="0" err="1" smtClean="0"/>
              <a:t>The</a:t>
            </a:r>
            <a:r>
              <a:rPr lang="et-EE" dirty="0" smtClean="0"/>
              <a:t> </a:t>
            </a:r>
            <a:r>
              <a:rPr lang="et-EE" dirty="0" err="1" smtClean="0"/>
              <a:t>plan</a:t>
            </a:r>
            <a:r>
              <a:rPr lang="et-EE" dirty="0" smtClean="0"/>
              <a:t> </a:t>
            </a:r>
            <a:r>
              <a:rPr lang="et-EE" dirty="0" err="1" smtClean="0"/>
              <a:t>was</a:t>
            </a:r>
            <a:r>
              <a:rPr lang="et-EE" dirty="0" smtClean="0"/>
              <a:t> </a:t>
            </a:r>
            <a:r>
              <a:rPr lang="et-EE" dirty="0" err="1" smtClean="0"/>
              <a:t>based</a:t>
            </a:r>
            <a:r>
              <a:rPr lang="et-EE" dirty="0" smtClean="0"/>
              <a:t> on </a:t>
            </a:r>
            <a:r>
              <a:rPr lang="et-EE" dirty="0" err="1" smtClean="0"/>
              <a:t>ops</a:t>
            </a:r>
            <a:r>
              <a:rPr lang="et-EE" dirty="0" smtClean="0"/>
              <a:t> </a:t>
            </a:r>
            <a:r>
              <a:rPr lang="et-EE" dirty="0" err="1" smtClean="0"/>
              <a:t>competence</a:t>
            </a:r>
            <a:r>
              <a:rPr lang="et-EE" dirty="0" smtClean="0"/>
              <a:t> </a:t>
            </a:r>
            <a:r>
              <a:rPr lang="et-EE" dirty="0" err="1" smtClean="0"/>
              <a:t>training</a:t>
            </a:r>
            <a:r>
              <a:rPr lang="et-EE" dirty="0" smtClean="0"/>
              <a:t> programme</a:t>
            </a:r>
          </a:p>
          <a:p>
            <a:r>
              <a:rPr lang="et-EE" dirty="0" smtClean="0"/>
              <a:t>No </a:t>
            </a:r>
            <a:r>
              <a:rPr lang="et-EE" dirty="0" err="1" smtClean="0"/>
              <a:t>official</a:t>
            </a:r>
            <a:r>
              <a:rPr lang="et-EE" dirty="0" smtClean="0"/>
              <a:t> </a:t>
            </a:r>
            <a:r>
              <a:rPr lang="et-EE" dirty="0" err="1" smtClean="0"/>
              <a:t>mentorship</a:t>
            </a:r>
            <a:r>
              <a:rPr lang="et-EE" dirty="0" smtClean="0"/>
              <a:t> </a:t>
            </a:r>
            <a:r>
              <a:rPr lang="et-EE" dirty="0" err="1" smtClean="0"/>
              <a:t>inside</a:t>
            </a:r>
            <a:r>
              <a:rPr lang="et-EE" dirty="0" smtClean="0"/>
              <a:t> </a:t>
            </a:r>
            <a:r>
              <a:rPr lang="et-EE" dirty="0" err="1" smtClean="0"/>
              <a:t>the</a:t>
            </a:r>
            <a:r>
              <a:rPr lang="et-EE" dirty="0" smtClean="0"/>
              <a:t> </a:t>
            </a:r>
            <a:r>
              <a:rPr lang="et-EE" dirty="0" err="1" smtClean="0"/>
              <a:t>same</a:t>
            </a:r>
            <a:r>
              <a:rPr lang="et-EE" dirty="0" smtClean="0"/>
              <a:t> </a:t>
            </a:r>
            <a:r>
              <a:rPr lang="et-EE" dirty="0" err="1" smtClean="0"/>
              <a:t>team</a:t>
            </a:r>
            <a:endParaRPr lang="et-EE" dirty="0" smtClean="0"/>
          </a:p>
          <a:p>
            <a:r>
              <a:rPr lang="et-EE" dirty="0" err="1" smtClean="0"/>
              <a:t>Mentorship</a:t>
            </a:r>
            <a:r>
              <a:rPr lang="et-EE" dirty="0" smtClean="0"/>
              <a:t> programme </a:t>
            </a:r>
            <a:r>
              <a:rPr lang="et-EE" dirty="0" err="1" smtClean="0"/>
              <a:t>lasted</a:t>
            </a:r>
            <a:r>
              <a:rPr lang="et-EE" dirty="0" smtClean="0"/>
              <a:t> 3 </a:t>
            </a:r>
            <a:r>
              <a:rPr lang="et-EE" dirty="0" err="1" smtClean="0"/>
              <a:t>months</a:t>
            </a:r>
            <a:endParaRPr lang="et-EE" dirty="0"/>
          </a:p>
          <a:p>
            <a:r>
              <a:rPr lang="et-EE" dirty="0" err="1" smtClean="0"/>
              <a:t>Currently</a:t>
            </a:r>
            <a:r>
              <a:rPr lang="et-EE" dirty="0" smtClean="0"/>
              <a:t> </a:t>
            </a:r>
            <a:r>
              <a:rPr lang="et-EE" dirty="0" err="1" smtClean="0"/>
              <a:t>same</a:t>
            </a:r>
            <a:r>
              <a:rPr lang="et-EE" dirty="0" smtClean="0"/>
              <a:t> </a:t>
            </a:r>
            <a:r>
              <a:rPr lang="et-EE" dirty="0" err="1" smtClean="0"/>
              <a:t>mentors</a:t>
            </a:r>
            <a:r>
              <a:rPr lang="et-EE" dirty="0" smtClean="0"/>
              <a:t> </a:t>
            </a:r>
            <a:r>
              <a:rPr lang="et-EE" dirty="0" err="1" smtClean="0"/>
              <a:t>support</a:t>
            </a:r>
            <a:r>
              <a:rPr lang="et-EE" dirty="0" smtClean="0"/>
              <a:t> </a:t>
            </a:r>
            <a:r>
              <a:rPr lang="et-EE" dirty="0" err="1" smtClean="0"/>
              <a:t>their</a:t>
            </a:r>
            <a:r>
              <a:rPr lang="et-EE" dirty="0" smtClean="0"/>
              <a:t> </a:t>
            </a:r>
            <a:r>
              <a:rPr lang="et-EE" dirty="0" err="1" smtClean="0"/>
              <a:t>teams</a:t>
            </a:r>
            <a:r>
              <a:rPr lang="et-EE" dirty="0" smtClean="0"/>
              <a:t> </a:t>
            </a:r>
            <a:r>
              <a:rPr lang="et-EE" dirty="0" err="1" smtClean="0"/>
              <a:t>for</a:t>
            </a:r>
            <a:r>
              <a:rPr lang="et-EE" dirty="0" smtClean="0"/>
              <a:t> 5% </a:t>
            </a:r>
            <a:r>
              <a:rPr lang="et-EE" dirty="0" err="1" smtClean="0"/>
              <a:t>dev</a:t>
            </a:r>
            <a:r>
              <a:rPr lang="et-EE" dirty="0" smtClean="0"/>
              <a:t>/</a:t>
            </a:r>
            <a:r>
              <a:rPr lang="et-EE" dirty="0" err="1" smtClean="0"/>
              <a:t>complicated</a:t>
            </a:r>
            <a:r>
              <a:rPr lang="et-EE" dirty="0" smtClean="0"/>
              <a:t> </a:t>
            </a:r>
            <a:r>
              <a:rPr lang="et-EE" dirty="0" err="1" smtClean="0"/>
              <a:t>incident</a:t>
            </a:r>
            <a:r>
              <a:rPr lang="et-EE" dirty="0" smtClean="0"/>
              <a:t> </a:t>
            </a:r>
            <a:r>
              <a:rPr lang="et-EE" dirty="0" err="1" smtClean="0"/>
              <a:t>cases</a:t>
            </a:r>
            <a:endParaRPr lang="et-EE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35284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smtClean="0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err="1" smtClean="0"/>
              <a:t>Devops</a:t>
            </a:r>
            <a:r>
              <a:rPr lang="et-EE" dirty="0" smtClean="0"/>
              <a:t> </a:t>
            </a:r>
            <a:r>
              <a:rPr lang="et-EE" dirty="0" err="1" smtClean="0"/>
              <a:t>implementation</a:t>
            </a:r>
            <a:r>
              <a:rPr lang="et-EE" dirty="0" smtClean="0"/>
              <a:t> </a:t>
            </a:r>
            <a:r>
              <a:rPr lang="et-EE" dirty="0" err="1" smtClean="0"/>
              <a:t>governance</a:t>
            </a:r>
            <a:r>
              <a:rPr lang="et-EE" dirty="0" smtClean="0"/>
              <a:t> </a:t>
            </a:r>
            <a:r>
              <a:rPr lang="et-EE" dirty="0" err="1" smtClean="0"/>
              <a:t>model</a:t>
            </a:r>
            <a:endParaRPr lang="et-E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t-EE" dirty="0" err="1" smtClean="0"/>
              <a:t>Weekly</a:t>
            </a:r>
            <a:r>
              <a:rPr lang="et-EE" dirty="0" smtClean="0"/>
              <a:t> 30min </a:t>
            </a:r>
            <a:r>
              <a:rPr lang="et-EE" dirty="0" err="1" smtClean="0"/>
              <a:t>steering</a:t>
            </a:r>
            <a:r>
              <a:rPr lang="et-EE" dirty="0" smtClean="0"/>
              <a:t> </a:t>
            </a:r>
            <a:r>
              <a:rPr lang="et-EE" dirty="0" err="1" smtClean="0"/>
              <a:t>with</a:t>
            </a:r>
            <a:r>
              <a:rPr lang="et-EE" dirty="0" smtClean="0"/>
              <a:t> C3 </a:t>
            </a:r>
            <a:r>
              <a:rPr lang="et-EE" dirty="0" err="1" smtClean="0"/>
              <a:t>managers</a:t>
            </a:r>
            <a:r>
              <a:rPr lang="et-EE" dirty="0" smtClean="0"/>
              <a:t> (</a:t>
            </a:r>
            <a:r>
              <a:rPr lang="et-EE" dirty="0" err="1" smtClean="0"/>
              <a:t>who</a:t>
            </a:r>
            <a:r>
              <a:rPr lang="et-EE" dirty="0" smtClean="0"/>
              <a:t> </a:t>
            </a:r>
            <a:r>
              <a:rPr lang="et-EE" dirty="0" err="1" smtClean="0"/>
              <a:t>report</a:t>
            </a:r>
            <a:r>
              <a:rPr lang="et-EE" dirty="0" smtClean="0"/>
              <a:t> </a:t>
            </a:r>
            <a:r>
              <a:rPr lang="et-EE" dirty="0" err="1" smtClean="0"/>
              <a:t>to</a:t>
            </a:r>
            <a:r>
              <a:rPr lang="et-EE" dirty="0" smtClean="0"/>
              <a:t> CTO) </a:t>
            </a:r>
          </a:p>
          <a:p>
            <a:r>
              <a:rPr lang="et-EE" dirty="0" smtClean="0"/>
              <a:t>Agenda </a:t>
            </a:r>
            <a:r>
              <a:rPr lang="et-EE" dirty="0" err="1" smtClean="0"/>
              <a:t>includes</a:t>
            </a:r>
            <a:r>
              <a:rPr lang="et-EE" dirty="0" smtClean="0"/>
              <a:t> </a:t>
            </a:r>
            <a:r>
              <a:rPr lang="et-EE" dirty="0" err="1" smtClean="0"/>
              <a:t>current</a:t>
            </a:r>
            <a:r>
              <a:rPr lang="et-EE" dirty="0" smtClean="0"/>
              <a:t> </a:t>
            </a:r>
            <a:r>
              <a:rPr lang="et-EE" dirty="0" err="1" smtClean="0"/>
              <a:t>hot</a:t>
            </a:r>
            <a:r>
              <a:rPr lang="et-EE" dirty="0" smtClean="0"/>
              <a:t> </a:t>
            </a:r>
            <a:r>
              <a:rPr lang="et-EE" dirty="0" err="1" smtClean="0"/>
              <a:t>topics</a:t>
            </a:r>
            <a:r>
              <a:rPr lang="et-EE" dirty="0" smtClean="0"/>
              <a:t> </a:t>
            </a:r>
            <a:r>
              <a:rPr lang="et-EE" dirty="0" err="1" smtClean="0"/>
              <a:t>like</a:t>
            </a:r>
            <a:r>
              <a:rPr lang="et-EE" dirty="0" smtClean="0"/>
              <a:t> </a:t>
            </a:r>
          </a:p>
          <a:p>
            <a:pPr lvl="1"/>
            <a:r>
              <a:rPr lang="et-EE" dirty="0" smtClean="0"/>
              <a:t>Last </a:t>
            </a:r>
            <a:r>
              <a:rPr lang="et-EE" dirty="0" err="1" smtClean="0"/>
              <a:t>handovers</a:t>
            </a:r>
            <a:endParaRPr lang="et-EE" dirty="0" smtClean="0"/>
          </a:p>
          <a:p>
            <a:pPr lvl="1"/>
            <a:r>
              <a:rPr lang="et-EE" dirty="0" err="1" smtClean="0"/>
              <a:t>Closing</a:t>
            </a:r>
            <a:r>
              <a:rPr lang="et-EE" dirty="0" smtClean="0"/>
              <a:t> </a:t>
            </a:r>
            <a:r>
              <a:rPr lang="et-EE" dirty="0" err="1" smtClean="0"/>
              <a:t>legacy</a:t>
            </a:r>
            <a:r>
              <a:rPr lang="et-EE" dirty="0" smtClean="0"/>
              <a:t> </a:t>
            </a:r>
            <a:r>
              <a:rPr lang="et-EE" dirty="0" err="1" smtClean="0"/>
              <a:t>systems</a:t>
            </a:r>
            <a:r>
              <a:rPr lang="et-EE" dirty="0" smtClean="0"/>
              <a:t> </a:t>
            </a:r>
          </a:p>
          <a:p>
            <a:pPr lvl="1"/>
            <a:r>
              <a:rPr lang="et-EE" dirty="0" err="1" smtClean="0"/>
              <a:t>Competence</a:t>
            </a:r>
            <a:r>
              <a:rPr lang="et-EE" dirty="0" smtClean="0"/>
              <a:t> </a:t>
            </a:r>
            <a:r>
              <a:rPr lang="et-EE" dirty="0" err="1" smtClean="0"/>
              <a:t>management</a:t>
            </a:r>
            <a:r>
              <a:rPr lang="et-EE" dirty="0" smtClean="0"/>
              <a:t>, </a:t>
            </a:r>
            <a:r>
              <a:rPr lang="et-EE" dirty="0" err="1" smtClean="0"/>
              <a:t>dev</a:t>
            </a:r>
            <a:r>
              <a:rPr lang="et-EE" dirty="0" smtClean="0"/>
              <a:t> </a:t>
            </a:r>
            <a:r>
              <a:rPr lang="et-EE" dirty="0" err="1" smtClean="0"/>
              <a:t>competence</a:t>
            </a:r>
            <a:r>
              <a:rPr lang="et-EE" dirty="0" smtClean="0"/>
              <a:t> </a:t>
            </a:r>
            <a:r>
              <a:rPr lang="et-EE" dirty="0" err="1" smtClean="0"/>
              <a:t>mgmt</a:t>
            </a:r>
            <a:r>
              <a:rPr lang="et-EE" dirty="0" smtClean="0"/>
              <a:t> </a:t>
            </a:r>
            <a:r>
              <a:rPr lang="et-EE" dirty="0" err="1" smtClean="0"/>
              <a:t>gaining</a:t>
            </a:r>
            <a:r>
              <a:rPr lang="et-EE" dirty="0" smtClean="0"/>
              <a:t> </a:t>
            </a:r>
            <a:r>
              <a:rPr lang="et-EE" dirty="0" err="1" smtClean="0"/>
              <a:t>momentum</a:t>
            </a:r>
            <a:endParaRPr lang="et-EE" dirty="0" smtClean="0"/>
          </a:p>
          <a:p>
            <a:pPr lvl="1"/>
            <a:r>
              <a:rPr lang="et-EE" dirty="0" smtClean="0"/>
              <a:t>Tooling</a:t>
            </a:r>
          </a:p>
          <a:p>
            <a:pPr lvl="1"/>
            <a:r>
              <a:rPr lang="et-EE" dirty="0" err="1" smtClean="0"/>
              <a:t>etc</a:t>
            </a:r>
            <a:endParaRPr lang="et-EE" dirty="0" smtClean="0"/>
          </a:p>
          <a:p>
            <a:r>
              <a:rPr lang="et-EE" dirty="0" smtClean="0"/>
              <a:t>C3 </a:t>
            </a:r>
            <a:r>
              <a:rPr lang="et-EE" dirty="0" err="1" smtClean="0"/>
              <a:t>managers</a:t>
            </a:r>
            <a:r>
              <a:rPr lang="et-EE" dirty="0" smtClean="0"/>
              <a:t> take </a:t>
            </a:r>
            <a:r>
              <a:rPr lang="et-EE" dirty="0" err="1" smtClean="0"/>
              <a:t>the</a:t>
            </a:r>
            <a:r>
              <a:rPr lang="et-EE" dirty="0" smtClean="0"/>
              <a:t> </a:t>
            </a:r>
            <a:r>
              <a:rPr lang="et-EE" dirty="0" err="1" smtClean="0"/>
              <a:t>topics</a:t>
            </a:r>
            <a:r>
              <a:rPr lang="et-EE" dirty="0" smtClean="0"/>
              <a:t> </a:t>
            </a:r>
            <a:r>
              <a:rPr lang="et-EE" dirty="0" err="1" smtClean="0"/>
              <a:t>to</a:t>
            </a:r>
            <a:r>
              <a:rPr lang="et-EE" dirty="0" smtClean="0"/>
              <a:t> </a:t>
            </a:r>
            <a:r>
              <a:rPr lang="et-EE" dirty="0" err="1" smtClean="0"/>
              <a:t>their</a:t>
            </a:r>
            <a:r>
              <a:rPr lang="et-EE" dirty="0" smtClean="0"/>
              <a:t> </a:t>
            </a:r>
            <a:r>
              <a:rPr lang="et-EE" dirty="0" err="1" smtClean="0"/>
              <a:t>management</a:t>
            </a:r>
            <a:r>
              <a:rPr lang="et-EE" dirty="0" smtClean="0"/>
              <a:t> </a:t>
            </a:r>
            <a:r>
              <a:rPr lang="et-EE" dirty="0" err="1" smtClean="0"/>
              <a:t>team</a:t>
            </a:r>
            <a:r>
              <a:rPr lang="et-EE" dirty="0" smtClean="0"/>
              <a:t> </a:t>
            </a:r>
            <a:r>
              <a:rPr lang="et-EE" dirty="0" err="1" smtClean="0"/>
              <a:t>meetings</a:t>
            </a:r>
            <a:endParaRPr lang="et-EE" dirty="0" smtClean="0"/>
          </a:p>
          <a:p>
            <a:endParaRPr lang="et-EE" dirty="0" smtClean="0"/>
          </a:p>
          <a:p>
            <a:r>
              <a:rPr lang="et-EE" dirty="0" err="1" smtClean="0"/>
              <a:t>Additionally</a:t>
            </a:r>
            <a:r>
              <a:rPr lang="et-EE" dirty="0" smtClean="0"/>
              <a:t> </a:t>
            </a:r>
            <a:r>
              <a:rPr lang="et-EE" dirty="0" err="1" smtClean="0"/>
              <a:t>bi-weekly</a:t>
            </a:r>
            <a:r>
              <a:rPr lang="et-EE" dirty="0" smtClean="0"/>
              <a:t> </a:t>
            </a:r>
            <a:r>
              <a:rPr lang="et-EE" dirty="0" err="1" smtClean="0"/>
              <a:t>DevOps</a:t>
            </a:r>
            <a:r>
              <a:rPr lang="et-EE" dirty="0" smtClean="0"/>
              <a:t> </a:t>
            </a:r>
            <a:r>
              <a:rPr lang="et-EE" dirty="0" err="1" smtClean="0"/>
              <a:t>forum</a:t>
            </a:r>
            <a:r>
              <a:rPr lang="et-EE" dirty="0" smtClean="0"/>
              <a:t> </a:t>
            </a:r>
            <a:r>
              <a:rPr lang="et-EE" dirty="0" err="1" smtClean="0"/>
              <a:t>with</a:t>
            </a:r>
            <a:r>
              <a:rPr lang="et-EE" dirty="0" smtClean="0"/>
              <a:t> C4 </a:t>
            </a:r>
            <a:r>
              <a:rPr lang="et-EE" dirty="0" err="1" smtClean="0"/>
              <a:t>teamleads</a:t>
            </a:r>
            <a:r>
              <a:rPr lang="et-EE" dirty="0" smtClean="0"/>
              <a:t> and </a:t>
            </a:r>
            <a:r>
              <a:rPr lang="et-EE" dirty="0" err="1" smtClean="0"/>
              <a:t>dev</a:t>
            </a:r>
            <a:r>
              <a:rPr lang="et-EE" dirty="0" smtClean="0"/>
              <a:t>/</a:t>
            </a:r>
            <a:r>
              <a:rPr lang="et-EE" dirty="0" err="1" smtClean="0"/>
              <a:t>service</a:t>
            </a:r>
            <a:r>
              <a:rPr lang="et-EE" dirty="0" smtClean="0"/>
              <a:t> </a:t>
            </a:r>
            <a:r>
              <a:rPr lang="et-EE" dirty="0" err="1" smtClean="0"/>
              <a:t>managers</a:t>
            </a:r>
            <a:endParaRPr lang="et-EE" dirty="0" smtClean="0"/>
          </a:p>
          <a:p>
            <a:pPr lvl="1"/>
            <a:r>
              <a:rPr lang="et-EE" dirty="0" smtClean="0"/>
              <a:t>Agenda </a:t>
            </a:r>
            <a:r>
              <a:rPr lang="et-EE" dirty="0" err="1" smtClean="0"/>
              <a:t>includes</a:t>
            </a:r>
            <a:r>
              <a:rPr lang="et-EE" dirty="0" smtClean="0"/>
              <a:t> </a:t>
            </a:r>
            <a:r>
              <a:rPr lang="et-EE" dirty="0" err="1" smtClean="0"/>
              <a:t>roles</a:t>
            </a:r>
            <a:r>
              <a:rPr lang="et-EE" dirty="0" smtClean="0"/>
              <a:t>, </a:t>
            </a:r>
            <a:r>
              <a:rPr lang="et-EE" dirty="0" err="1" smtClean="0"/>
              <a:t>comp</a:t>
            </a:r>
            <a:r>
              <a:rPr lang="et-EE" dirty="0" smtClean="0"/>
              <a:t> </a:t>
            </a:r>
            <a:r>
              <a:rPr lang="et-EE" dirty="0" err="1" smtClean="0"/>
              <a:t>management</a:t>
            </a:r>
            <a:r>
              <a:rPr lang="et-EE" dirty="0" smtClean="0"/>
              <a:t>, </a:t>
            </a:r>
            <a:r>
              <a:rPr lang="et-EE" dirty="0" err="1" smtClean="0"/>
              <a:t>trainings</a:t>
            </a:r>
            <a:r>
              <a:rPr lang="et-EE" dirty="0" smtClean="0"/>
              <a:t>, </a:t>
            </a:r>
            <a:r>
              <a:rPr lang="et-EE" dirty="0" err="1" smtClean="0"/>
              <a:t>process</a:t>
            </a:r>
            <a:r>
              <a:rPr lang="et-EE" dirty="0" smtClean="0"/>
              <a:t> </a:t>
            </a:r>
            <a:r>
              <a:rPr lang="et-EE" dirty="0" err="1" smtClean="0"/>
              <a:t>issues</a:t>
            </a:r>
            <a:r>
              <a:rPr lang="et-EE" dirty="0" smtClean="0"/>
              <a:t>, </a:t>
            </a:r>
            <a:r>
              <a:rPr lang="et-EE" dirty="0" err="1" smtClean="0"/>
              <a:t>infra</a:t>
            </a:r>
            <a:r>
              <a:rPr lang="et-EE" dirty="0" smtClean="0"/>
              <a:t> </a:t>
            </a:r>
            <a:r>
              <a:rPr lang="et-EE" dirty="0" err="1" smtClean="0"/>
              <a:t>roadmap</a:t>
            </a:r>
            <a:r>
              <a:rPr lang="et-EE" dirty="0" smtClean="0"/>
              <a:t> </a:t>
            </a:r>
            <a:r>
              <a:rPr lang="et-EE" dirty="0" err="1" smtClean="0"/>
              <a:t>etc</a:t>
            </a:r>
            <a:endParaRPr lang="et-EE" dirty="0" smtClean="0"/>
          </a:p>
          <a:p>
            <a:endParaRPr lang="et-EE" dirty="0" smtClean="0"/>
          </a:p>
          <a:p>
            <a:pPr marL="290250" lvl="1" indent="0">
              <a:buNone/>
            </a:pPr>
            <a:endParaRPr lang="et-EE" dirty="0" smtClean="0"/>
          </a:p>
          <a:p>
            <a:pPr lvl="1"/>
            <a:endParaRPr lang="et-EE" dirty="0"/>
          </a:p>
          <a:p>
            <a:pPr marL="290250" lvl="1" indent="0">
              <a:buNone/>
            </a:pPr>
            <a:endParaRPr lang="et-EE" dirty="0"/>
          </a:p>
        </p:txBody>
      </p:sp>
    </p:spTree>
    <p:extLst>
      <p:ext uri="{BB962C8B-B14F-4D97-AF65-F5344CB8AC3E}">
        <p14:creationId xmlns:p14="http://schemas.microsoft.com/office/powerpoint/2010/main" val="17426881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997" y="153602"/>
            <a:ext cx="11112251" cy="1079500"/>
          </a:xfrm>
        </p:spPr>
        <p:txBody>
          <a:bodyPr/>
          <a:lstStyle/>
          <a:p>
            <a:r>
              <a:rPr lang="et-EE" dirty="0" err="1" smtClean="0"/>
              <a:t>Topics</a:t>
            </a:r>
            <a:endParaRPr lang="et-E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0FFF0-F7DD-407A-9AA6-72E7E3690154}" type="datetime1">
              <a:rPr lang="en-GB" smtClean="0"/>
              <a:t>10/12/2017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FOOTER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/>
              <a:t>2</a:t>
            </a:fld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360484" y="720720"/>
            <a:ext cx="11471275" cy="4621544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t-EE" dirty="0" smtClean="0"/>
              <a:t>Telia </a:t>
            </a:r>
            <a:r>
              <a:rPr lang="et-EE" dirty="0" err="1" smtClean="0"/>
              <a:t>Company</a:t>
            </a:r>
            <a:endParaRPr lang="et-E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t-EE" dirty="0" err="1" smtClean="0"/>
              <a:t>History</a:t>
            </a:r>
            <a:r>
              <a:rPr lang="et-EE" dirty="0" smtClean="0"/>
              <a:t>, </a:t>
            </a:r>
            <a:r>
              <a:rPr lang="et-EE" dirty="0" err="1" smtClean="0"/>
              <a:t>maturity</a:t>
            </a:r>
            <a:r>
              <a:rPr lang="et-EE" dirty="0" smtClean="0"/>
              <a:t> </a:t>
            </a:r>
            <a:r>
              <a:rPr lang="et-EE" dirty="0" err="1" smtClean="0"/>
              <a:t>levels</a:t>
            </a:r>
            <a:endParaRPr lang="et-E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t-EE" dirty="0" err="1" smtClean="0"/>
              <a:t>The</a:t>
            </a:r>
            <a:r>
              <a:rPr lang="et-EE" dirty="0" smtClean="0"/>
              <a:t> </a:t>
            </a:r>
            <a:r>
              <a:rPr lang="et-EE" dirty="0" err="1" smtClean="0"/>
              <a:t>vision</a:t>
            </a:r>
            <a:endParaRPr lang="et-E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t-EE" dirty="0" err="1" smtClean="0"/>
              <a:t>Devops</a:t>
            </a:r>
            <a:r>
              <a:rPr lang="et-EE" dirty="0" smtClean="0"/>
              <a:t> </a:t>
            </a:r>
            <a:r>
              <a:rPr lang="et-EE" dirty="0" err="1" smtClean="0"/>
              <a:t>ideology</a:t>
            </a:r>
            <a:r>
              <a:rPr lang="et-EE" dirty="0" smtClean="0"/>
              <a:t> and </a:t>
            </a:r>
            <a:r>
              <a:rPr lang="et-EE" dirty="0" err="1" smtClean="0"/>
              <a:t>tech</a:t>
            </a:r>
            <a:r>
              <a:rPr lang="et-EE" dirty="0" smtClean="0"/>
              <a:t> </a:t>
            </a:r>
            <a:r>
              <a:rPr lang="et-EE" dirty="0" err="1" smtClean="0"/>
              <a:t>depth</a:t>
            </a:r>
            <a:endParaRPr lang="et-E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t-EE" dirty="0" smtClean="0"/>
              <a:t>New </a:t>
            </a:r>
            <a:r>
              <a:rPr lang="et-EE" dirty="0" err="1" smtClean="0"/>
              <a:t>DevOps</a:t>
            </a:r>
            <a:r>
              <a:rPr lang="et-EE" dirty="0" smtClean="0"/>
              <a:t> </a:t>
            </a:r>
            <a:r>
              <a:rPr lang="et-EE" dirty="0" err="1" smtClean="0"/>
              <a:t>teams</a:t>
            </a:r>
            <a:r>
              <a:rPr lang="et-EE" dirty="0" smtClean="0"/>
              <a:t> and </a:t>
            </a:r>
            <a:r>
              <a:rPr lang="et-EE" dirty="0" err="1" smtClean="0"/>
              <a:t>service</a:t>
            </a:r>
            <a:r>
              <a:rPr lang="et-EE" dirty="0" smtClean="0"/>
              <a:t> </a:t>
            </a:r>
            <a:r>
              <a:rPr lang="et-EE" dirty="0" err="1" smtClean="0"/>
              <a:t>handovers</a:t>
            </a:r>
            <a:endParaRPr lang="et-EE" dirty="0"/>
          </a:p>
          <a:p>
            <a:pPr marL="342900" indent="-342900"/>
            <a:r>
              <a:rPr lang="et-EE" dirty="0" err="1" smtClean="0"/>
              <a:t>Initial</a:t>
            </a:r>
            <a:r>
              <a:rPr lang="et-EE" dirty="0" smtClean="0"/>
              <a:t> </a:t>
            </a:r>
            <a:r>
              <a:rPr lang="et-EE" dirty="0" err="1" smtClean="0"/>
              <a:t>Ops</a:t>
            </a:r>
            <a:r>
              <a:rPr lang="et-EE" dirty="0" smtClean="0"/>
              <a:t> </a:t>
            </a:r>
            <a:r>
              <a:rPr lang="et-EE" dirty="0" err="1" smtClean="0"/>
              <a:t>training</a:t>
            </a:r>
            <a:r>
              <a:rPr lang="et-EE" dirty="0" smtClean="0"/>
              <a:t> programme</a:t>
            </a:r>
          </a:p>
          <a:p>
            <a:pPr marL="342900" indent="-342900"/>
            <a:r>
              <a:rPr lang="et-EE" dirty="0" err="1" smtClean="0"/>
              <a:t>Ops</a:t>
            </a:r>
            <a:r>
              <a:rPr lang="et-EE" dirty="0" smtClean="0"/>
              <a:t> </a:t>
            </a:r>
            <a:r>
              <a:rPr lang="et-EE" dirty="0" err="1" smtClean="0"/>
              <a:t>competence</a:t>
            </a:r>
            <a:r>
              <a:rPr lang="et-EE" dirty="0" smtClean="0"/>
              <a:t> </a:t>
            </a:r>
            <a:r>
              <a:rPr lang="et-EE" dirty="0" err="1" smtClean="0"/>
              <a:t>management</a:t>
            </a:r>
            <a:endParaRPr lang="et-EE" dirty="0" smtClean="0"/>
          </a:p>
          <a:p>
            <a:pPr marL="342900" indent="-342900"/>
            <a:r>
              <a:rPr lang="et-EE" dirty="0" err="1" smtClean="0"/>
              <a:t>Ops</a:t>
            </a:r>
            <a:r>
              <a:rPr lang="et-EE" dirty="0" smtClean="0"/>
              <a:t> </a:t>
            </a:r>
            <a:r>
              <a:rPr lang="et-EE" dirty="0" err="1" smtClean="0"/>
              <a:t>hands</a:t>
            </a:r>
            <a:r>
              <a:rPr lang="et-EE" dirty="0" smtClean="0"/>
              <a:t>-on </a:t>
            </a:r>
            <a:r>
              <a:rPr lang="et-EE" dirty="0" err="1" smtClean="0"/>
              <a:t>trainings</a:t>
            </a:r>
            <a:endParaRPr lang="et-EE" dirty="0" smtClean="0"/>
          </a:p>
          <a:p>
            <a:pPr marL="342900" indent="-342900"/>
            <a:r>
              <a:rPr lang="et-EE" dirty="0" err="1" smtClean="0"/>
              <a:t>Ops</a:t>
            </a:r>
            <a:r>
              <a:rPr lang="et-EE" dirty="0" smtClean="0"/>
              <a:t> </a:t>
            </a:r>
            <a:r>
              <a:rPr lang="et-EE" dirty="0" err="1"/>
              <a:t>m</a:t>
            </a:r>
            <a:r>
              <a:rPr lang="et-EE" dirty="0" err="1" smtClean="0"/>
              <a:t>entorship</a:t>
            </a:r>
            <a:r>
              <a:rPr lang="et-EE" dirty="0" smtClean="0"/>
              <a:t> programme</a:t>
            </a:r>
          </a:p>
          <a:p>
            <a:pPr marL="342900" indent="-342900"/>
            <a:r>
              <a:rPr lang="en-US" dirty="0" smtClean="0"/>
              <a:t>Retro</a:t>
            </a:r>
            <a:r>
              <a:rPr lang="et-EE" dirty="0" err="1" smtClean="0"/>
              <a:t>perspective</a:t>
            </a:r>
            <a:r>
              <a:rPr lang="en-US" dirty="0" smtClean="0"/>
              <a:t> </a:t>
            </a:r>
            <a:r>
              <a:rPr lang="en-US" dirty="0"/>
              <a:t>1 year later – view from the teams</a:t>
            </a:r>
            <a:endParaRPr lang="et-EE" dirty="0" smtClean="0"/>
          </a:p>
          <a:p>
            <a:pPr marL="342900" indent="-342900"/>
            <a:r>
              <a:rPr lang="et-EE" dirty="0" smtClean="0"/>
              <a:t>Main </a:t>
            </a:r>
            <a:r>
              <a:rPr lang="et-EE" dirty="0" err="1" smtClean="0"/>
              <a:t>learnings</a:t>
            </a:r>
            <a:endParaRPr lang="et-EE" dirty="0" smtClean="0"/>
          </a:p>
          <a:p>
            <a:pPr marL="342900" indent="-342900"/>
            <a:r>
              <a:rPr lang="et-EE" dirty="0" err="1" smtClean="0"/>
              <a:t>Questions</a:t>
            </a:r>
            <a:endParaRPr lang="et-EE" dirty="0" smtClean="0"/>
          </a:p>
          <a:p>
            <a:pPr marL="342900" indent="-342900"/>
            <a:endParaRPr lang="et-EE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t-EE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t-EE" sz="2400" dirty="0"/>
          </a:p>
          <a:p>
            <a:pPr marL="0" lvl="1" indent="-16537">
              <a:buNone/>
            </a:pPr>
            <a:endParaRPr lang="et-EE" dirty="0" smtClean="0"/>
          </a:p>
          <a:p>
            <a:pPr marL="614363" lvl="2" indent="-342900">
              <a:buFont typeface="+mj-lt"/>
              <a:buAutoNum type="arabicPeriod"/>
            </a:pPr>
            <a:endParaRPr lang="et-EE" dirty="0" smtClean="0"/>
          </a:p>
          <a:p>
            <a:pPr lvl="1"/>
            <a:endParaRPr lang="et-E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t-EE" dirty="0"/>
          </a:p>
        </p:txBody>
      </p:sp>
    </p:spTree>
    <p:extLst>
      <p:ext uri="{BB962C8B-B14F-4D97-AF65-F5344CB8AC3E}">
        <p14:creationId xmlns:p14="http://schemas.microsoft.com/office/powerpoint/2010/main" val="633747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smtClean="0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9999" y="93782"/>
            <a:ext cx="11112251" cy="1079500"/>
          </a:xfrm>
        </p:spPr>
        <p:txBody>
          <a:bodyPr/>
          <a:lstStyle/>
          <a:p>
            <a:r>
              <a:rPr lang="et-EE" dirty="0" smtClean="0"/>
              <a:t>Retro 1 </a:t>
            </a:r>
            <a:r>
              <a:rPr lang="et-EE" dirty="0" err="1" smtClean="0"/>
              <a:t>year</a:t>
            </a:r>
            <a:r>
              <a:rPr lang="et-EE" dirty="0" smtClean="0"/>
              <a:t> </a:t>
            </a:r>
            <a:r>
              <a:rPr lang="et-EE" dirty="0" err="1" smtClean="0"/>
              <a:t>later</a:t>
            </a:r>
            <a:r>
              <a:rPr lang="et-EE" dirty="0" smtClean="0"/>
              <a:t> – </a:t>
            </a:r>
            <a:r>
              <a:rPr lang="et-EE" dirty="0" err="1" smtClean="0"/>
              <a:t>view</a:t>
            </a:r>
            <a:r>
              <a:rPr lang="et-EE" dirty="0" smtClean="0"/>
              <a:t> </a:t>
            </a:r>
            <a:r>
              <a:rPr lang="et-EE" dirty="0" err="1" smtClean="0"/>
              <a:t>from</a:t>
            </a:r>
            <a:r>
              <a:rPr lang="et-EE" dirty="0" smtClean="0"/>
              <a:t> </a:t>
            </a:r>
            <a:r>
              <a:rPr lang="et-EE" dirty="0" err="1" smtClean="0"/>
              <a:t>the</a:t>
            </a:r>
            <a:r>
              <a:rPr lang="et-EE" dirty="0" smtClean="0"/>
              <a:t> </a:t>
            </a:r>
            <a:r>
              <a:rPr lang="et-EE" dirty="0" err="1" smtClean="0"/>
              <a:t>teams</a:t>
            </a:r>
            <a:endParaRPr lang="et-E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538163" y="633933"/>
            <a:ext cx="11114087" cy="4167188"/>
          </a:xfrm>
        </p:spPr>
        <p:txBody>
          <a:bodyPr/>
          <a:lstStyle/>
          <a:p>
            <a:r>
              <a:rPr lang="et-EE" dirty="0" err="1" smtClean="0"/>
              <a:t>Tech</a:t>
            </a:r>
            <a:r>
              <a:rPr lang="et-EE" dirty="0" smtClean="0"/>
              <a:t> </a:t>
            </a:r>
            <a:r>
              <a:rPr lang="et-EE" dirty="0" err="1" smtClean="0"/>
              <a:t>vision</a:t>
            </a:r>
            <a:r>
              <a:rPr lang="et-EE" dirty="0" smtClean="0"/>
              <a:t> 2017: </a:t>
            </a:r>
            <a:r>
              <a:rPr lang="et-EE" dirty="0"/>
              <a:t>T</a:t>
            </a:r>
            <a:r>
              <a:rPr lang="en-US" dirty="0" err="1"/>
              <a:t>eams</a:t>
            </a:r>
            <a:r>
              <a:rPr lang="en-US" dirty="0"/>
              <a:t> feel ownership of their services. They are independent and have the competence to both develop and operate their services. Infrastructure and platforms used as a service.</a:t>
            </a:r>
            <a:endParaRPr lang="et-EE" dirty="0"/>
          </a:p>
          <a:p>
            <a:r>
              <a:rPr lang="et-EE" dirty="0" err="1"/>
              <a:t>The</a:t>
            </a:r>
            <a:r>
              <a:rPr lang="et-EE" dirty="0"/>
              <a:t> </a:t>
            </a:r>
            <a:r>
              <a:rPr lang="et-EE" dirty="0" err="1"/>
              <a:t>vision</a:t>
            </a:r>
            <a:r>
              <a:rPr lang="et-EE" dirty="0"/>
              <a:t> </a:t>
            </a:r>
            <a:r>
              <a:rPr lang="et-EE" dirty="0" err="1"/>
              <a:t>was</a:t>
            </a:r>
            <a:r>
              <a:rPr lang="et-EE" dirty="0"/>
              <a:t> „</a:t>
            </a:r>
            <a:r>
              <a:rPr lang="et-EE" dirty="0" err="1"/>
              <a:t>decoupled</a:t>
            </a:r>
            <a:r>
              <a:rPr lang="et-EE" dirty="0"/>
              <a:t>“ </a:t>
            </a:r>
            <a:r>
              <a:rPr lang="et-EE" dirty="0" err="1"/>
              <a:t>to</a:t>
            </a:r>
            <a:r>
              <a:rPr lang="et-EE" dirty="0"/>
              <a:t> parts and </a:t>
            </a:r>
            <a:r>
              <a:rPr lang="et-EE" dirty="0" err="1"/>
              <a:t>each</a:t>
            </a:r>
            <a:r>
              <a:rPr lang="et-EE" dirty="0"/>
              <a:t> part </a:t>
            </a:r>
            <a:r>
              <a:rPr lang="et-EE" dirty="0" err="1"/>
              <a:t>had</a:t>
            </a:r>
            <a:r>
              <a:rPr lang="et-EE" dirty="0"/>
              <a:t> </a:t>
            </a:r>
            <a:r>
              <a:rPr lang="et-EE" dirty="0" err="1"/>
              <a:t>several</a:t>
            </a:r>
            <a:r>
              <a:rPr lang="et-EE" dirty="0"/>
              <a:t> </a:t>
            </a:r>
            <a:r>
              <a:rPr lang="et-EE" dirty="0" err="1"/>
              <a:t>aspects</a:t>
            </a:r>
            <a:r>
              <a:rPr lang="et-EE" dirty="0"/>
              <a:t> </a:t>
            </a:r>
            <a:r>
              <a:rPr lang="et-EE" dirty="0" err="1"/>
              <a:t>detailed</a:t>
            </a:r>
            <a:endParaRPr lang="et-EE" dirty="0"/>
          </a:p>
          <a:p>
            <a:r>
              <a:rPr lang="et-EE" dirty="0" smtClean="0"/>
              <a:t>90min </a:t>
            </a:r>
            <a:r>
              <a:rPr lang="et-EE" dirty="0" err="1" smtClean="0"/>
              <a:t>interviews</a:t>
            </a:r>
            <a:r>
              <a:rPr lang="et-EE" dirty="0" smtClean="0"/>
              <a:t> </a:t>
            </a:r>
            <a:r>
              <a:rPr lang="et-EE" dirty="0" err="1" smtClean="0"/>
              <a:t>were</a:t>
            </a:r>
            <a:r>
              <a:rPr lang="et-EE" dirty="0" smtClean="0"/>
              <a:t> </a:t>
            </a:r>
            <a:r>
              <a:rPr lang="et-EE" dirty="0" err="1" smtClean="0"/>
              <a:t>performed</a:t>
            </a:r>
            <a:r>
              <a:rPr lang="et-EE" dirty="0" smtClean="0"/>
              <a:t> </a:t>
            </a:r>
            <a:r>
              <a:rPr lang="et-EE" dirty="0" err="1" smtClean="0"/>
              <a:t>with</a:t>
            </a:r>
            <a:r>
              <a:rPr lang="et-EE" dirty="0" smtClean="0"/>
              <a:t> </a:t>
            </a:r>
            <a:r>
              <a:rPr lang="et-EE" dirty="0" err="1" smtClean="0"/>
              <a:t>the</a:t>
            </a:r>
            <a:r>
              <a:rPr lang="et-EE" dirty="0" smtClean="0"/>
              <a:t> </a:t>
            </a:r>
            <a:r>
              <a:rPr lang="et-EE" dirty="0" err="1" smtClean="0"/>
              <a:t>DevOps</a:t>
            </a:r>
            <a:r>
              <a:rPr lang="et-EE" dirty="0" smtClean="0"/>
              <a:t> </a:t>
            </a:r>
            <a:r>
              <a:rPr lang="et-EE" dirty="0" err="1" smtClean="0"/>
              <a:t>teamleads</a:t>
            </a:r>
            <a:r>
              <a:rPr lang="et-EE" dirty="0" smtClean="0"/>
              <a:t> </a:t>
            </a:r>
            <a:r>
              <a:rPr lang="et-EE" dirty="0" err="1" smtClean="0"/>
              <a:t>that</a:t>
            </a:r>
            <a:r>
              <a:rPr lang="et-EE" dirty="0" smtClean="0"/>
              <a:t> </a:t>
            </a:r>
            <a:r>
              <a:rPr lang="et-EE" dirty="0" err="1" smtClean="0"/>
              <a:t>were</a:t>
            </a:r>
            <a:r>
              <a:rPr lang="et-EE" dirty="0" smtClean="0"/>
              <a:t> </a:t>
            </a:r>
            <a:r>
              <a:rPr lang="et-EE" dirty="0" err="1" smtClean="0"/>
              <a:t>most</a:t>
            </a:r>
            <a:r>
              <a:rPr lang="et-EE" dirty="0" smtClean="0"/>
              <a:t> </a:t>
            </a:r>
            <a:r>
              <a:rPr lang="et-EE" dirty="0" err="1" smtClean="0"/>
              <a:t>affected</a:t>
            </a:r>
            <a:r>
              <a:rPr lang="et-EE" dirty="0" smtClean="0"/>
              <a:t> </a:t>
            </a:r>
            <a:r>
              <a:rPr lang="et-EE" dirty="0" err="1" smtClean="0"/>
              <a:t>by</a:t>
            </a:r>
            <a:r>
              <a:rPr lang="et-EE" dirty="0" smtClean="0"/>
              <a:t> </a:t>
            </a:r>
            <a:r>
              <a:rPr lang="et-EE" dirty="0" err="1" smtClean="0"/>
              <a:t>the</a:t>
            </a:r>
            <a:r>
              <a:rPr lang="et-EE" dirty="0" smtClean="0"/>
              <a:t> </a:t>
            </a:r>
            <a:r>
              <a:rPr lang="et-EE" dirty="0" err="1" smtClean="0"/>
              <a:t>change</a:t>
            </a:r>
            <a:endParaRPr lang="et-EE" dirty="0" smtClean="0"/>
          </a:p>
          <a:p>
            <a:r>
              <a:rPr lang="et-EE" dirty="0" err="1" smtClean="0"/>
              <a:t>Asked</a:t>
            </a:r>
            <a:r>
              <a:rPr lang="et-EE" dirty="0" smtClean="0"/>
              <a:t> </a:t>
            </a:r>
            <a:r>
              <a:rPr lang="et-EE" dirty="0" err="1" smtClean="0"/>
              <a:t>to</a:t>
            </a:r>
            <a:r>
              <a:rPr lang="et-EE" dirty="0" smtClean="0"/>
              <a:t> </a:t>
            </a:r>
            <a:r>
              <a:rPr lang="et-EE" dirty="0" err="1" smtClean="0"/>
              <a:t>evaluate</a:t>
            </a:r>
            <a:r>
              <a:rPr lang="et-EE" dirty="0" smtClean="0"/>
              <a:t> </a:t>
            </a:r>
            <a:r>
              <a:rPr lang="et-EE" dirty="0" err="1" smtClean="0"/>
              <a:t>the</a:t>
            </a:r>
            <a:r>
              <a:rPr lang="et-EE" dirty="0" smtClean="0"/>
              <a:t> </a:t>
            </a:r>
            <a:r>
              <a:rPr lang="et-EE" dirty="0" err="1" smtClean="0"/>
              <a:t>past</a:t>
            </a:r>
            <a:r>
              <a:rPr lang="et-EE" dirty="0" smtClean="0"/>
              <a:t>, present and </a:t>
            </a:r>
            <a:r>
              <a:rPr lang="et-EE" dirty="0" err="1" smtClean="0"/>
              <a:t>future</a:t>
            </a:r>
            <a:r>
              <a:rPr lang="et-EE" dirty="0" smtClean="0"/>
              <a:t> </a:t>
            </a:r>
            <a:r>
              <a:rPr lang="et-EE" dirty="0" err="1" smtClean="0"/>
              <a:t>needs</a:t>
            </a:r>
            <a:r>
              <a:rPr lang="et-EE" dirty="0" smtClean="0"/>
              <a:t> of 2017 </a:t>
            </a:r>
            <a:r>
              <a:rPr lang="et-EE" dirty="0" err="1" smtClean="0"/>
              <a:t>DevOps</a:t>
            </a:r>
            <a:r>
              <a:rPr lang="et-EE" dirty="0" smtClean="0"/>
              <a:t> </a:t>
            </a:r>
            <a:r>
              <a:rPr lang="et-EE" dirty="0" err="1" smtClean="0"/>
              <a:t>vision</a:t>
            </a:r>
            <a:r>
              <a:rPr lang="et-EE" dirty="0" smtClean="0"/>
              <a:t> + </a:t>
            </a:r>
            <a:r>
              <a:rPr lang="et-EE" dirty="0" err="1" smtClean="0"/>
              <a:t>give</a:t>
            </a:r>
            <a:r>
              <a:rPr lang="et-EE" dirty="0" smtClean="0"/>
              <a:t> </a:t>
            </a:r>
            <a:r>
              <a:rPr lang="et-EE" dirty="0" err="1" smtClean="0"/>
              <a:t>feedback</a:t>
            </a:r>
            <a:r>
              <a:rPr lang="et-EE" dirty="0" smtClean="0"/>
              <a:t> </a:t>
            </a:r>
            <a:r>
              <a:rPr lang="et-EE" dirty="0" err="1" smtClean="0"/>
              <a:t>for</a:t>
            </a:r>
            <a:r>
              <a:rPr lang="et-EE" dirty="0" smtClean="0"/>
              <a:t> </a:t>
            </a:r>
            <a:r>
              <a:rPr lang="et-EE" dirty="0" err="1" smtClean="0"/>
              <a:t>the</a:t>
            </a:r>
            <a:r>
              <a:rPr lang="et-EE" dirty="0" smtClean="0"/>
              <a:t> org. </a:t>
            </a:r>
            <a:r>
              <a:rPr lang="et-EE" dirty="0" err="1"/>
              <a:t>c</a:t>
            </a:r>
            <a:r>
              <a:rPr lang="et-EE" dirty="0" err="1" smtClean="0"/>
              <a:t>hange</a:t>
            </a:r>
            <a:r>
              <a:rPr lang="et-EE" dirty="0" smtClean="0"/>
              <a:t> </a:t>
            </a:r>
            <a:r>
              <a:rPr lang="et-EE" dirty="0" err="1" smtClean="0"/>
              <a:t>management</a:t>
            </a:r>
            <a:r>
              <a:rPr lang="et-EE" dirty="0" smtClean="0"/>
              <a:t> </a:t>
            </a:r>
            <a:r>
              <a:rPr lang="et-EE" dirty="0" err="1" smtClean="0"/>
              <a:t>team</a:t>
            </a:r>
            <a:r>
              <a:rPr lang="et-EE" dirty="0" smtClean="0"/>
              <a:t>. </a:t>
            </a:r>
          </a:p>
          <a:p>
            <a:pPr marL="0" indent="0">
              <a:buNone/>
            </a:pPr>
            <a:r>
              <a:rPr lang="et-EE" dirty="0" err="1" smtClean="0"/>
              <a:t>Results</a:t>
            </a:r>
            <a:r>
              <a:rPr lang="et-EE" dirty="0" smtClean="0"/>
              <a:t>:</a:t>
            </a:r>
          </a:p>
          <a:p>
            <a:r>
              <a:rPr lang="et-EE" dirty="0" err="1" smtClean="0"/>
              <a:t>Overall</a:t>
            </a:r>
            <a:r>
              <a:rPr lang="et-EE" dirty="0" smtClean="0"/>
              <a:t> </a:t>
            </a:r>
            <a:r>
              <a:rPr lang="et-EE" dirty="0" err="1" smtClean="0"/>
              <a:t>satisfaction</a:t>
            </a:r>
            <a:r>
              <a:rPr lang="et-EE" dirty="0" smtClean="0"/>
              <a:t> </a:t>
            </a:r>
            <a:r>
              <a:rPr lang="et-EE" dirty="0" err="1" smtClean="0"/>
              <a:t>was</a:t>
            </a:r>
            <a:r>
              <a:rPr lang="et-EE" dirty="0" smtClean="0"/>
              <a:t> </a:t>
            </a:r>
            <a:r>
              <a:rPr lang="et-EE" dirty="0" err="1" smtClean="0"/>
              <a:t>good</a:t>
            </a:r>
            <a:r>
              <a:rPr lang="et-EE" dirty="0" smtClean="0"/>
              <a:t>, </a:t>
            </a:r>
            <a:r>
              <a:rPr lang="et-EE" dirty="0" err="1" smtClean="0"/>
              <a:t>teams</a:t>
            </a:r>
            <a:r>
              <a:rPr lang="et-EE" dirty="0" smtClean="0"/>
              <a:t> </a:t>
            </a:r>
            <a:r>
              <a:rPr lang="et-EE" dirty="0" err="1" smtClean="0"/>
              <a:t>felt</a:t>
            </a:r>
            <a:r>
              <a:rPr lang="et-EE" dirty="0" smtClean="0"/>
              <a:t> </a:t>
            </a:r>
            <a:r>
              <a:rPr lang="et-EE" dirty="0" err="1" smtClean="0"/>
              <a:t>that</a:t>
            </a:r>
            <a:r>
              <a:rPr lang="et-EE" dirty="0" smtClean="0"/>
              <a:t> </a:t>
            </a:r>
            <a:r>
              <a:rPr lang="et-EE" dirty="0" err="1" smtClean="0"/>
              <a:t>it</a:t>
            </a:r>
            <a:r>
              <a:rPr lang="et-EE" dirty="0" smtClean="0"/>
              <a:t> </a:t>
            </a:r>
            <a:r>
              <a:rPr lang="et-EE" dirty="0" err="1" smtClean="0"/>
              <a:t>was</a:t>
            </a:r>
            <a:r>
              <a:rPr lang="et-EE" dirty="0" smtClean="0"/>
              <a:t> </a:t>
            </a:r>
            <a:r>
              <a:rPr lang="et-EE" dirty="0" err="1" smtClean="0"/>
              <a:t>the</a:t>
            </a:r>
            <a:r>
              <a:rPr lang="et-EE" dirty="0" smtClean="0"/>
              <a:t> </a:t>
            </a:r>
            <a:r>
              <a:rPr lang="et-EE" dirty="0" err="1" smtClean="0"/>
              <a:t>right</a:t>
            </a:r>
            <a:r>
              <a:rPr lang="et-EE" dirty="0" smtClean="0"/>
              <a:t> </a:t>
            </a:r>
            <a:r>
              <a:rPr lang="et-EE" dirty="0" err="1" smtClean="0"/>
              <a:t>thing</a:t>
            </a:r>
            <a:r>
              <a:rPr lang="et-EE" dirty="0" smtClean="0"/>
              <a:t> </a:t>
            </a:r>
            <a:r>
              <a:rPr lang="et-EE" dirty="0" err="1" smtClean="0"/>
              <a:t>to</a:t>
            </a:r>
            <a:r>
              <a:rPr lang="et-EE" dirty="0" smtClean="0"/>
              <a:t> </a:t>
            </a:r>
            <a:r>
              <a:rPr lang="et-EE" dirty="0" err="1" smtClean="0"/>
              <a:t>do</a:t>
            </a:r>
            <a:r>
              <a:rPr lang="et-EE" dirty="0" smtClean="0"/>
              <a:t> and </a:t>
            </a:r>
            <a:r>
              <a:rPr lang="et-EE" dirty="0" err="1" smtClean="0"/>
              <a:t>that</a:t>
            </a:r>
            <a:r>
              <a:rPr lang="et-EE" dirty="0" smtClean="0"/>
              <a:t> </a:t>
            </a:r>
            <a:r>
              <a:rPr lang="et-EE" dirty="0" err="1" smtClean="0"/>
              <a:t>it</a:t>
            </a:r>
            <a:r>
              <a:rPr lang="et-EE" dirty="0" smtClean="0"/>
              <a:t> </a:t>
            </a:r>
            <a:r>
              <a:rPr lang="et-EE" dirty="0" err="1" smtClean="0"/>
              <a:t>is</a:t>
            </a:r>
            <a:r>
              <a:rPr lang="et-EE" dirty="0" smtClean="0"/>
              <a:t> </a:t>
            </a:r>
            <a:r>
              <a:rPr lang="et-EE" dirty="0" err="1" smtClean="0"/>
              <a:t>done</a:t>
            </a:r>
            <a:r>
              <a:rPr lang="et-EE" dirty="0" smtClean="0"/>
              <a:t>.</a:t>
            </a:r>
          </a:p>
          <a:p>
            <a:r>
              <a:rPr lang="et-EE" dirty="0" err="1" smtClean="0"/>
              <a:t>Two</a:t>
            </a:r>
            <a:r>
              <a:rPr lang="et-EE" dirty="0" smtClean="0"/>
              <a:t> </a:t>
            </a:r>
            <a:r>
              <a:rPr lang="et-EE" dirty="0" err="1" smtClean="0"/>
              <a:t>main</a:t>
            </a:r>
            <a:r>
              <a:rPr lang="et-EE" dirty="0" smtClean="0"/>
              <a:t> </a:t>
            </a:r>
            <a:r>
              <a:rPr lang="et-EE" dirty="0" err="1" smtClean="0"/>
              <a:t>issues</a:t>
            </a:r>
            <a:r>
              <a:rPr lang="et-EE" dirty="0" smtClean="0"/>
              <a:t> </a:t>
            </a:r>
            <a:r>
              <a:rPr lang="et-EE" dirty="0" err="1" smtClean="0"/>
              <a:t>were</a:t>
            </a:r>
            <a:r>
              <a:rPr lang="et-EE" dirty="0" smtClean="0"/>
              <a:t> </a:t>
            </a:r>
            <a:r>
              <a:rPr lang="et-EE" dirty="0" err="1" smtClean="0"/>
              <a:t>with</a:t>
            </a:r>
            <a:r>
              <a:rPr lang="et-EE" dirty="0" smtClean="0"/>
              <a:t> </a:t>
            </a:r>
            <a:r>
              <a:rPr lang="et-EE" dirty="0" err="1" smtClean="0"/>
              <a:t>shared</a:t>
            </a:r>
            <a:r>
              <a:rPr lang="et-EE" dirty="0" smtClean="0"/>
              <a:t> </a:t>
            </a:r>
            <a:r>
              <a:rPr lang="et-EE" dirty="0" err="1" smtClean="0"/>
              <a:t>java</a:t>
            </a:r>
            <a:r>
              <a:rPr lang="et-EE" dirty="0" smtClean="0"/>
              <a:t>/DB </a:t>
            </a:r>
            <a:r>
              <a:rPr lang="et-EE" dirty="0" err="1" smtClean="0"/>
              <a:t>clusters</a:t>
            </a:r>
            <a:r>
              <a:rPr lang="et-EE" dirty="0"/>
              <a:t> </a:t>
            </a:r>
            <a:r>
              <a:rPr lang="et-EE" dirty="0" smtClean="0"/>
              <a:t>+ </a:t>
            </a:r>
            <a:r>
              <a:rPr lang="et-EE" dirty="0" err="1" smtClean="0"/>
              <a:t>monoliths</a:t>
            </a:r>
            <a:r>
              <a:rPr lang="et-EE" dirty="0" smtClean="0"/>
              <a:t> and </a:t>
            </a:r>
            <a:r>
              <a:rPr lang="et-EE" dirty="0" err="1" smtClean="0"/>
              <a:t>with</a:t>
            </a:r>
            <a:r>
              <a:rPr lang="et-EE" dirty="0" smtClean="0"/>
              <a:t> </a:t>
            </a:r>
            <a:r>
              <a:rPr lang="et-EE" dirty="0" err="1" smtClean="0"/>
              <a:t>the</a:t>
            </a:r>
            <a:r>
              <a:rPr lang="et-EE" dirty="0" smtClean="0"/>
              <a:t> </a:t>
            </a:r>
            <a:r>
              <a:rPr lang="et-EE" dirty="0" err="1" smtClean="0"/>
              <a:t>limited</a:t>
            </a:r>
            <a:r>
              <a:rPr lang="et-EE" dirty="0" smtClean="0"/>
              <a:t> </a:t>
            </a:r>
            <a:r>
              <a:rPr lang="et-EE" dirty="0" err="1" smtClean="0"/>
              <a:t>freedom</a:t>
            </a:r>
            <a:r>
              <a:rPr lang="et-EE" dirty="0" smtClean="0"/>
              <a:t> in </a:t>
            </a:r>
            <a:r>
              <a:rPr lang="et-EE" dirty="0" err="1" smtClean="0"/>
              <a:t>team</a:t>
            </a:r>
            <a:r>
              <a:rPr lang="et-EE" dirty="0" smtClean="0"/>
              <a:t> OPEX </a:t>
            </a:r>
            <a:r>
              <a:rPr lang="et-EE" dirty="0" err="1" smtClean="0"/>
              <a:t>management</a:t>
            </a:r>
            <a:r>
              <a:rPr lang="et-EE" dirty="0" smtClean="0"/>
              <a:t> – vendor </a:t>
            </a:r>
            <a:r>
              <a:rPr lang="et-EE" dirty="0" err="1" smtClean="0"/>
              <a:t>support</a:t>
            </a:r>
            <a:r>
              <a:rPr lang="et-EE" dirty="0" smtClean="0"/>
              <a:t> vs PEX vs </a:t>
            </a:r>
            <a:r>
              <a:rPr lang="et-EE" dirty="0" err="1" smtClean="0"/>
              <a:t>trainings</a:t>
            </a:r>
            <a:r>
              <a:rPr lang="et-EE" dirty="0" smtClean="0"/>
              <a:t> vs </a:t>
            </a:r>
            <a:r>
              <a:rPr lang="et-EE" dirty="0" err="1" smtClean="0"/>
              <a:t>team</a:t>
            </a:r>
            <a:r>
              <a:rPr lang="et-EE" dirty="0" smtClean="0"/>
              <a:t> </a:t>
            </a:r>
            <a:r>
              <a:rPr lang="et-EE" dirty="0" err="1" smtClean="0"/>
              <a:t>events</a:t>
            </a:r>
            <a:r>
              <a:rPr lang="et-EE" dirty="0" smtClean="0"/>
              <a:t> </a:t>
            </a:r>
            <a:r>
              <a:rPr lang="et-EE" dirty="0" err="1" smtClean="0"/>
              <a:t>etc</a:t>
            </a:r>
            <a:endParaRPr lang="et-EE" dirty="0" smtClean="0"/>
          </a:p>
          <a:p>
            <a:r>
              <a:rPr lang="et-EE" dirty="0" err="1" smtClean="0"/>
              <a:t>Feedback</a:t>
            </a:r>
            <a:r>
              <a:rPr lang="et-EE" dirty="0" smtClean="0"/>
              <a:t> </a:t>
            </a:r>
            <a:r>
              <a:rPr lang="et-EE" dirty="0" err="1" smtClean="0"/>
              <a:t>to</a:t>
            </a:r>
            <a:r>
              <a:rPr lang="et-EE" dirty="0" smtClean="0"/>
              <a:t> </a:t>
            </a:r>
            <a:r>
              <a:rPr lang="et-EE" dirty="0" err="1" smtClean="0"/>
              <a:t>project</a:t>
            </a:r>
            <a:r>
              <a:rPr lang="et-EE" dirty="0" smtClean="0"/>
              <a:t> </a:t>
            </a:r>
            <a:r>
              <a:rPr lang="et-EE" dirty="0" err="1" smtClean="0"/>
              <a:t>team</a:t>
            </a:r>
            <a:r>
              <a:rPr lang="et-EE" dirty="0" smtClean="0"/>
              <a:t>: </a:t>
            </a:r>
            <a:r>
              <a:rPr lang="et-EE" dirty="0" err="1" smtClean="0">
                <a:solidFill>
                  <a:srgbClr val="00B050"/>
                </a:solidFill>
              </a:rPr>
              <a:t>courage</a:t>
            </a:r>
            <a:r>
              <a:rPr lang="et-EE" dirty="0" smtClean="0">
                <a:solidFill>
                  <a:srgbClr val="00B050"/>
                </a:solidFill>
              </a:rPr>
              <a:t> </a:t>
            </a:r>
            <a:r>
              <a:rPr lang="et-EE" dirty="0" err="1" smtClean="0">
                <a:solidFill>
                  <a:srgbClr val="00B050"/>
                </a:solidFill>
              </a:rPr>
              <a:t>to</a:t>
            </a:r>
            <a:r>
              <a:rPr lang="et-EE" dirty="0" smtClean="0">
                <a:solidFill>
                  <a:srgbClr val="00B050"/>
                </a:solidFill>
              </a:rPr>
              <a:t> </a:t>
            </a:r>
            <a:r>
              <a:rPr lang="et-EE" dirty="0" err="1" smtClean="0">
                <a:solidFill>
                  <a:srgbClr val="00B050"/>
                </a:solidFill>
              </a:rPr>
              <a:t>do</a:t>
            </a:r>
            <a:r>
              <a:rPr lang="et-EE" dirty="0" smtClean="0">
                <a:solidFill>
                  <a:srgbClr val="00B050"/>
                </a:solidFill>
              </a:rPr>
              <a:t> </a:t>
            </a:r>
            <a:r>
              <a:rPr lang="et-EE" dirty="0" err="1" smtClean="0">
                <a:solidFill>
                  <a:srgbClr val="00B050"/>
                </a:solidFill>
              </a:rPr>
              <a:t>it</a:t>
            </a:r>
            <a:r>
              <a:rPr lang="et-EE" dirty="0" smtClean="0">
                <a:solidFill>
                  <a:srgbClr val="00B050"/>
                </a:solidFill>
              </a:rPr>
              <a:t>, </a:t>
            </a:r>
            <a:r>
              <a:rPr lang="et-EE" dirty="0" err="1" smtClean="0">
                <a:solidFill>
                  <a:srgbClr val="00B050"/>
                </a:solidFill>
              </a:rPr>
              <a:t>support</a:t>
            </a:r>
            <a:r>
              <a:rPr lang="et-EE" dirty="0" smtClean="0">
                <a:solidFill>
                  <a:srgbClr val="00B050"/>
                </a:solidFill>
              </a:rPr>
              <a:t>, </a:t>
            </a:r>
            <a:r>
              <a:rPr lang="et-EE" dirty="0" err="1" smtClean="0">
                <a:solidFill>
                  <a:srgbClr val="00B050"/>
                </a:solidFill>
              </a:rPr>
              <a:t>it</a:t>
            </a:r>
            <a:r>
              <a:rPr lang="et-EE" dirty="0" smtClean="0">
                <a:solidFill>
                  <a:srgbClr val="00B050"/>
                </a:solidFill>
              </a:rPr>
              <a:t> </a:t>
            </a:r>
            <a:r>
              <a:rPr lang="et-EE" dirty="0" err="1" smtClean="0">
                <a:solidFill>
                  <a:srgbClr val="00B050"/>
                </a:solidFill>
              </a:rPr>
              <a:t>is</a:t>
            </a:r>
            <a:r>
              <a:rPr lang="et-EE" dirty="0" smtClean="0">
                <a:solidFill>
                  <a:srgbClr val="00B050"/>
                </a:solidFill>
              </a:rPr>
              <a:t> </a:t>
            </a:r>
            <a:r>
              <a:rPr lang="et-EE" dirty="0" err="1" smtClean="0">
                <a:solidFill>
                  <a:srgbClr val="00B050"/>
                </a:solidFill>
              </a:rPr>
              <a:t>done</a:t>
            </a:r>
            <a:r>
              <a:rPr lang="et-EE" dirty="0" smtClean="0">
                <a:solidFill>
                  <a:srgbClr val="00B050"/>
                </a:solidFill>
              </a:rPr>
              <a:t>.</a:t>
            </a:r>
            <a:r>
              <a:rPr lang="et-EE" dirty="0" smtClean="0"/>
              <a:t> </a:t>
            </a:r>
            <a:r>
              <a:rPr lang="et-EE" dirty="0" err="1" smtClean="0">
                <a:solidFill>
                  <a:srgbClr val="FF0000"/>
                </a:solidFill>
              </a:rPr>
              <a:t>For</a:t>
            </a:r>
            <a:r>
              <a:rPr lang="et-EE" dirty="0" smtClean="0">
                <a:solidFill>
                  <a:srgbClr val="FF0000"/>
                </a:solidFill>
              </a:rPr>
              <a:t> </a:t>
            </a:r>
            <a:r>
              <a:rPr lang="et-EE" dirty="0" err="1" smtClean="0">
                <a:solidFill>
                  <a:srgbClr val="FF0000"/>
                </a:solidFill>
              </a:rPr>
              <a:t>some</a:t>
            </a:r>
            <a:r>
              <a:rPr lang="et-EE" dirty="0" smtClean="0">
                <a:solidFill>
                  <a:srgbClr val="FF0000"/>
                </a:solidFill>
              </a:rPr>
              <a:t> </a:t>
            </a:r>
            <a:r>
              <a:rPr lang="et-EE" dirty="0" err="1" smtClean="0">
                <a:solidFill>
                  <a:srgbClr val="FF0000"/>
                </a:solidFill>
              </a:rPr>
              <a:t>teams</a:t>
            </a:r>
            <a:r>
              <a:rPr lang="et-EE" dirty="0" smtClean="0">
                <a:solidFill>
                  <a:srgbClr val="FF0000"/>
                </a:solidFill>
              </a:rPr>
              <a:t> too </a:t>
            </a:r>
            <a:r>
              <a:rPr lang="et-EE" dirty="0" err="1" smtClean="0">
                <a:solidFill>
                  <a:srgbClr val="FF0000"/>
                </a:solidFill>
              </a:rPr>
              <a:t>much</a:t>
            </a:r>
            <a:r>
              <a:rPr lang="et-EE" dirty="0" smtClean="0">
                <a:solidFill>
                  <a:srgbClr val="FF0000"/>
                </a:solidFill>
              </a:rPr>
              <a:t> </a:t>
            </a:r>
            <a:r>
              <a:rPr lang="et-EE" dirty="0" err="1" smtClean="0">
                <a:solidFill>
                  <a:srgbClr val="FF0000"/>
                </a:solidFill>
              </a:rPr>
              <a:t>micromanagement</a:t>
            </a:r>
            <a:r>
              <a:rPr lang="et-EE" dirty="0" smtClean="0">
                <a:solidFill>
                  <a:srgbClr val="FF0000"/>
                </a:solidFill>
              </a:rPr>
              <a:t> in </a:t>
            </a:r>
            <a:r>
              <a:rPr lang="et-EE" dirty="0" err="1" smtClean="0">
                <a:solidFill>
                  <a:srgbClr val="FF0000"/>
                </a:solidFill>
              </a:rPr>
              <a:t>the</a:t>
            </a:r>
            <a:r>
              <a:rPr lang="et-EE" dirty="0" smtClean="0">
                <a:solidFill>
                  <a:srgbClr val="FF0000"/>
                </a:solidFill>
              </a:rPr>
              <a:t> </a:t>
            </a:r>
            <a:r>
              <a:rPr lang="et-EE" dirty="0" err="1" smtClean="0">
                <a:solidFill>
                  <a:srgbClr val="FF0000"/>
                </a:solidFill>
              </a:rPr>
              <a:t>beginning</a:t>
            </a:r>
            <a:r>
              <a:rPr lang="et-EE" dirty="0" smtClean="0">
                <a:solidFill>
                  <a:srgbClr val="FF0000"/>
                </a:solidFill>
              </a:rPr>
              <a:t>, </a:t>
            </a:r>
            <a:r>
              <a:rPr lang="et-EE" dirty="0" err="1" smtClean="0">
                <a:solidFill>
                  <a:srgbClr val="FF0000"/>
                </a:solidFill>
              </a:rPr>
              <a:t>not</a:t>
            </a:r>
            <a:r>
              <a:rPr lang="et-EE" dirty="0" smtClean="0">
                <a:solidFill>
                  <a:srgbClr val="FF0000"/>
                </a:solidFill>
              </a:rPr>
              <a:t> </a:t>
            </a:r>
            <a:r>
              <a:rPr lang="et-EE" dirty="0" err="1" smtClean="0">
                <a:solidFill>
                  <a:srgbClr val="FF0000"/>
                </a:solidFill>
              </a:rPr>
              <a:t>clearly</a:t>
            </a:r>
            <a:r>
              <a:rPr lang="et-EE" dirty="0" smtClean="0">
                <a:solidFill>
                  <a:srgbClr val="FF0000"/>
                </a:solidFill>
              </a:rPr>
              <a:t> </a:t>
            </a:r>
            <a:r>
              <a:rPr lang="et-EE" dirty="0" err="1" smtClean="0">
                <a:solidFill>
                  <a:srgbClr val="FF0000"/>
                </a:solidFill>
              </a:rPr>
              <a:t>communicated</a:t>
            </a:r>
            <a:r>
              <a:rPr lang="et-EE" dirty="0" smtClean="0">
                <a:solidFill>
                  <a:srgbClr val="FF0000"/>
                </a:solidFill>
              </a:rPr>
              <a:t> </a:t>
            </a:r>
            <a:r>
              <a:rPr lang="et-EE" dirty="0" err="1" smtClean="0">
                <a:solidFill>
                  <a:srgbClr val="FF0000"/>
                </a:solidFill>
              </a:rPr>
              <a:t>change</a:t>
            </a:r>
            <a:r>
              <a:rPr lang="et-EE" dirty="0" smtClean="0">
                <a:solidFill>
                  <a:srgbClr val="FF0000"/>
                </a:solidFill>
              </a:rPr>
              <a:t> </a:t>
            </a:r>
            <a:r>
              <a:rPr lang="et-EE" dirty="0" err="1" smtClean="0">
                <a:solidFill>
                  <a:srgbClr val="FF0000"/>
                </a:solidFill>
              </a:rPr>
              <a:t>KPIs</a:t>
            </a:r>
            <a:endParaRPr lang="et-EE" dirty="0" smtClean="0">
              <a:solidFill>
                <a:srgbClr val="FF0000"/>
              </a:solidFill>
            </a:endParaRPr>
          </a:p>
          <a:p>
            <a:r>
              <a:rPr lang="et-EE" dirty="0" err="1" smtClean="0"/>
              <a:t>Way</a:t>
            </a:r>
            <a:r>
              <a:rPr lang="et-EE" dirty="0" smtClean="0"/>
              <a:t> </a:t>
            </a:r>
            <a:r>
              <a:rPr lang="et-EE" dirty="0" err="1" smtClean="0"/>
              <a:t>forward</a:t>
            </a:r>
            <a:r>
              <a:rPr lang="et-EE" dirty="0" smtClean="0"/>
              <a:t>: </a:t>
            </a:r>
            <a:r>
              <a:rPr lang="et-EE" dirty="0" err="1" smtClean="0"/>
              <a:t>BizDevOps</a:t>
            </a:r>
            <a:r>
              <a:rPr lang="et-EE" dirty="0" smtClean="0"/>
              <a:t>, </a:t>
            </a:r>
            <a:r>
              <a:rPr lang="et-EE" dirty="0" err="1" smtClean="0"/>
              <a:t>solving</a:t>
            </a:r>
            <a:r>
              <a:rPr lang="et-EE" dirty="0" smtClean="0"/>
              <a:t> </a:t>
            </a:r>
            <a:r>
              <a:rPr lang="et-EE" dirty="0" err="1" smtClean="0"/>
              <a:t>main</a:t>
            </a:r>
            <a:r>
              <a:rPr lang="et-EE" dirty="0" smtClean="0"/>
              <a:t> </a:t>
            </a:r>
            <a:r>
              <a:rPr lang="et-EE" dirty="0" err="1" smtClean="0"/>
              <a:t>issues</a:t>
            </a:r>
            <a:r>
              <a:rPr lang="et-EE" dirty="0" smtClean="0"/>
              <a:t> and </a:t>
            </a:r>
            <a:r>
              <a:rPr lang="et-EE" dirty="0" err="1" smtClean="0"/>
              <a:t>continuing</a:t>
            </a:r>
            <a:r>
              <a:rPr lang="et-EE" dirty="0" smtClean="0"/>
              <a:t> </a:t>
            </a:r>
            <a:r>
              <a:rPr lang="et-EE" dirty="0" err="1" smtClean="0"/>
              <a:t>with</a:t>
            </a:r>
            <a:r>
              <a:rPr lang="et-EE" dirty="0" smtClean="0"/>
              <a:t> </a:t>
            </a:r>
            <a:r>
              <a:rPr lang="et-EE" dirty="0" err="1" smtClean="0"/>
              <a:t>competence</a:t>
            </a:r>
            <a:r>
              <a:rPr lang="et-EE" dirty="0" smtClean="0"/>
              <a:t> </a:t>
            </a:r>
            <a:r>
              <a:rPr lang="et-EE" dirty="0" err="1" smtClean="0"/>
              <a:t>management</a:t>
            </a:r>
            <a:r>
              <a:rPr lang="et-EE" dirty="0" smtClean="0"/>
              <a:t> </a:t>
            </a:r>
            <a:r>
              <a:rPr lang="en-US" dirty="0"/>
              <a:t/>
            </a:r>
            <a:br>
              <a:rPr lang="en-US" dirty="0"/>
            </a:br>
            <a:endParaRPr lang="et-EE" dirty="0" smtClean="0"/>
          </a:p>
          <a:p>
            <a:endParaRPr lang="et-EE" dirty="0"/>
          </a:p>
        </p:txBody>
      </p:sp>
    </p:spTree>
    <p:extLst>
      <p:ext uri="{BB962C8B-B14F-4D97-AF65-F5344CB8AC3E}">
        <p14:creationId xmlns:p14="http://schemas.microsoft.com/office/powerpoint/2010/main" val="206633585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smtClean="0">
                <a:solidFill>
                  <a:prstClr val="black"/>
                </a:solidFill>
              </a:rPr>
              <a:t>yyyy-mm-dd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Confidential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smtClean="0"/>
              <a:t>Main </a:t>
            </a:r>
            <a:r>
              <a:rPr lang="et-EE" dirty="0" err="1" smtClean="0"/>
              <a:t>learnings</a:t>
            </a:r>
            <a:endParaRPr lang="et-E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/>
              <a:t>Cultural and </a:t>
            </a:r>
            <a:r>
              <a:rPr lang="en-US" dirty="0" err="1"/>
              <a:t>behavioural</a:t>
            </a:r>
            <a:r>
              <a:rPr lang="en-US" dirty="0"/>
              <a:t> change takes </a:t>
            </a:r>
            <a:r>
              <a:rPr lang="en-US" dirty="0" smtClean="0"/>
              <a:t>time</a:t>
            </a:r>
            <a:endParaRPr lang="et-EE" dirty="0" smtClean="0"/>
          </a:p>
          <a:p>
            <a:r>
              <a:rPr lang="et-EE" dirty="0" err="1" smtClean="0"/>
              <a:t>You</a:t>
            </a:r>
            <a:r>
              <a:rPr lang="et-EE" dirty="0" smtClean="0"/>
              <a:t> need </a:t>
            </a:r>
            <a:r>
              <a:rPr lang="et-EE" dirty="0" err="1" smtClean="0"/>
              <a:t>need</a:t>
            </a:r>
            <a:r>
              <a:rPr lang="et-EE" dirty="0" smtClean="0"/>
              <a:t> </a:t>
            </a:r>
            <a:r>
              <a:rPr lang="et-EE" dirty="0" err="1" smtClean="0"/>
              <a:t>to</a:t>
            </a:r>
            <a:r>
              <a:rPr lang="et-EE" dirty="0" smtClean="0"/>
              <a:t> </a:t>
            </a:r>
            <a:r>
              <a:rPr lang="et-EE" dirty="0" err="1" smtClean="0"/>
              <a:t>get</a:t>
            </a:r>
            <a:r>
              <a:rPr lang="et-EE" dirty="0" smtClean="0"/>
              <a:t> </a:t>
            </a:r>
            <a:r>
              <a:rPr lang="et-EE" dirty="0" err="1" smtClean="0"/>
              <a:t>the</a:t>
            </a:r>
            <a:r>
              <a:rPr lang="et-EE" dirty="0" smtClean="0"/>
              <a:t> real </a:t>
            </a:r>
            <a:r>
              <a:rPr lang="et-EE" dirty="0" err="1" smtClean="0"/>
              <a:t>buy</a:t>
            </a:r>
            <a:r>
              <a:rPr lang="et-EE" dirty="0" smtClean="0"/>
              <a:t>-in </a:t>
            </a:r>
            <a:r>
              <a:rPr lang="et-EE" dirty="0" err="1" smtClean="0"/>
              <a:t>from</a:t>
            </a:r>
            <a:r>
              <a:rPr lang="et-EE" dirty="0" smtClean="0"/>
              <a:t> </a:t>
            </a:r>
            <a:r>
              <a:rPr lang="et-EE" dirty="0" err="1" smtClean="0"/>
              <a:t>teamleads</a:t>
            </a:r>
            <a:r>
              <a:rPr lang="et-EE" dirty="0" smtClean="0"/>
              <a:t> and </a:t>
            </a:r>
            <a:r>
              <a:rPr lang="et-EE" dirty="0" err="1" smtClean="0"/>
              <a:t>teams</a:t>
            </a:r>
            <a:endParaRPr lang="et-EE" dirty="0" smtClean="0"/>
          </a:p>
          <a:p>
            <a:r>
              <a:rPr lang="en-US" dirty="0"/>
              <a:t>Keep an open mind and flexibility to make exceptions where </a:t>
            </a:r>
            <a:r>
              <a:rPr lang="en-US" dirty="0" smtClean="0"/>
              <a:t>necessary</a:t>
            </a:r>
            <a:endParaRPr lang="et-EE" dirty="0" smtClean="0"/>
          </a:p>
          <a:p>
            <a:r>
              <a:rPr lang="et-EE" dirty="0" err="1" smtClean="0"/>
              <a:t>Teams</a:t>
            </a:r>
            <a:r>
              <a:rPr lang="et-EE" dirty="0" smtClean="0"/>
              <a:t> need a </a:t>
            </a:r>
            <a:r>
              <a:rPr lang="et-EE" dirty="0" err="1" smtClean="0"/>
              <a:t>lot</a:t>
            </a:r>
            <a:r>
              <a:rPr lang="et-EE" dirty="0" smtClean="0"/>
              <a:t> of </a:t>
            </a:r>
            <a:r>
              <a:rPr lang="et-EE" dirty="0" err="1" smtClean="0"/>
              <a:t>support</a:t>
            </a:r>
            <a:r>
              <a:rPr lang="et-EE" dirty="0" smtClean="0"/>
              <a:t> in </a:t>
            </a:r>
            <a:r>
              <a:rPr lang="et-EE" dirty="0" err="1" smtClean="0"/>
              <a:t>the</a:t>
            </a:r>
            <a:r>
              <a:rPr lang="et-EE" dirty="0" smtClean="0"/>
              <a:t> </a:t>
            </a:r>
            <a:r>
              <a:rPr lang="et-EE" dirty="0" err="1" smtClean="0"/>
              <a:t>beginning</a:t>
            </a:r>
            <a:r>
              <a:rPr lang="et-EE" dirty="0" smtClean="0"/>
              <a:t>. </a:t>
            </a:r>
            <a:r>
              <a:rPr lang="et-EE" dirty="0" err="1" smtClean="0"/>
              <a:t>They</a:t>
            </a:r>
            <a:r>
              <a:rPr lang="et-EE" dirty="0" smtClean="0"/>
              <a:t> start </a:t>
            </a:r>
            <a:r>
              <a:rPr lang="et-EE" dirty="0" err="1" smtClean="0"/>
              <a:t>from</a:t>
            </a:r>
            <a:r>
              <a:rPr lang="et-EE" dirty="0" smtClean="0"/>
              <a:t> </a:t>
            </a:r>
            <a:r>
              <a:rPr lang="et-EE" err="1" smtClean="0"/>
              <a:t>different</a:t>
            </a:r>
            <a:r>
              <a:rPr lang="et-EE" smtClean="0"/>
              <a:t> </a:t>
            </a:r>
            <a:r>
              <a:rPr lang="et-EE" smtClean="0"/>
              <a:t>position</a:t>
            </a:r>
          </a:p>
          <a:p>
            <a:r>
              <a:rPr lang="et-EE"/>
              <a:t>(the change needs constant monitoring and management)</a:t>
            </a:r>
          </a:p>
          <a:p>
            <a:r>
              <a:rPr lang="et-EE" smtClean="0"/>
              <a:t>It’s </a:t>
            </a:r>
            <a:r>
              <a:rPr lang="et-EE" dirty="0" err="1" smtClean="0"/>
              <a:t>harder</a:t>
            </a:r>
            <a:r>
              <a:rPr lang="et-EE" dirty="0" smtClean="0"/>
              <a:t> </a:t>
            </a:r>
            <a:r>
              <a:rPr lang="et-EE" dirty="0" err="1" smtClean="0"/>
              <a:t>to</a:t>
            </a:r>
            <a:r>
              <a:rPr lang="et-EE" dirty="0" smtClean="0"/>
              <a:t> </a:t>
            </a:r>
            <a:r>
              <a:rPr lang="et-EE" dirty="0" err="1" smtClean="0"/>
              <a:t>do</a:t>
            </a:r>
            <a:r>
              <a:rPr lang="et-EE" dirty="0" smtClean="0"/>
              <a:t> </a:t>
            </a:r>
            <a:r>
              <a:rPr lang="et-EE" dirty="0" err="1" smtClean="0"/>
              <a:t>it</a:t>
            </a:r>
            <a:r>
              <a:rPr lang="et-EE" dirty="0" smtClean="0"/>
              <a:t> </a:t>
            </a:r>
            <a:r>
              <a:rPr lang="et-EE" dirty="0" err="1" smtClean="0"/>
              <a:t>if</a:t>
            </a:r>
            <a:r>
              <a:rPr lang="et-EE" dirty="0" smtClean="0"/>
              <a:t> </a:t>
            </a:r>
            <a:r>
              <a:rPr lang="et-EE" dirty="0" err="1" smtClean="0"/>
              <a:t>you</a:t>
            </a:r>
            <a:r>
              <a:rPr lang="et-EE" dirty="0" smtClean="0"/>
              <a:t> are </a:t>
            </a:r>
            <a:r>
              <a:rPr lang="et-EE" dirty="0" err="1" smtClean="0"/>
              <a:t>providing</a:t>
            </a:r>
            <a:r>
              <a:rPr lang="et-EE" dirty="0" smtClean="0"/>
              <a:t> </a:t>
            </a:r>
            <a:r>
              <a:rPr lang="et-EE" dirty="0" err="1" smtClean="0"/>
              <a:t>the</a:t>
            </a:r>
            <a:r>
              <a:rPr lang="et-EE" dirty="0" smtClean="0"/>
              <a:t> </a:t>
            </a:r>
            <a:r>
              <a:rPr lang="et-EE" dirty="0" err="1" smtClean="0"/>
              <a:t>infra</a:t>
            </a:r>
            <a:r>
              <a:rPr lang="et-EE" dirty="0" smtClean="0"/>
              <a:t> and </a:t>
            </a:r>
            <a:r>
              <a:rPr lang="et-EE" dirty="0" err="1" smtClean="0"/>
              <a:t>platforms</a:t>
            </a:r>
            <a:r>
              <a:rPr lang="et-EE" dirty="0" smtClean="0"/>
              <a:t> in-</a:t>
            </a:r>
            <a:r>
              <a:rPr lang="et-EE" dirty="0" err="1" smtClean="0"/>
              <a:t>house</a:t>
            </a:r>
            <a:r>
              <a:rPr lang="et-EE" dirty="0" smtClean="0"/>
              <a:t> </a:t>
            </a:r>
          </a:p>
          <a:p>
            <a:r>
              <a:rPr lang="et-EE" dirty="0" err="1" smtClean="0"/>
              <a:t>Strong</a:t>
            </a:r>
            <a:r>
              <a:rPr lang="et-EE" dirty="0" smtClean="0"/>
              <a:t> </a:t>
            </a:r>
            <a:r>
              <a:rPr lang="et-EE" dirty="0" err="1" smtClean="0"/>
              <a:t>competence</a:t>
            </a:r>
            <a:r>
              <a:rPr lang="et-EE" dirty="0" smtClean="0"/>
              <a:t> </a:t>
            </a:r>
            <a:r>
              <a:rPr lang="et-EE" dirty="0" err="1" smtClean="0"/>
              <a:t>management</a:t>
            </a:r>
            <a:r>
              <a:rPr lang="et-EE" dirty="0" smtClean="0"/>
              <a:t> </a:t>
            </a:r>
            <a:r>
              <a:rPr lang="et-EE" dirty="0" err="1" smtClean="0"/>
              <a:t>is</a:t>
            </a:r>
            <a:r>
              <a:rPr lang="et-EE" dirty="0" smtClean="0"/>
              <a:t> </a:t>
            </a:r>
            <a:r>
              <a:rPr lang="et-EE" dirty="0" err="1" smtClean="0"/>
              <a:t>needed</a:t>
            </a:r>
            <a:endParaRPr lang="et-EE" dirty="0" smtClean="0"/>
          </a:p>
          <a:p>
            <a:r>
              <a:rPr lang="en-US" dirty="0"/>
              <a:t>Some specialists are not willing to change and personnel changes are inevitable</a:t>
            </a:r>
          </a:p>
          <a:p>
            <a:endParaRPr lang="et-EE" dirty="0" smtClean="0"/>
          </a:p>
          <a:p>
            <a:endParaRPr lang="en-US" dirty="0"/>
          </a:p>
          <a:p>
            <a:endParaRPr lang="en-US" dirty="0" smtClean="0"/>
          </a:p>
          <a:p>
            <a:endParaRPr lang="et-EE" dirty="0"/>
          </a:p>
        </p:txBody>
      </p:sp>
    </p:spTree>
    <p:extLst>
      <p:ext uri="{BB962C8B-B14F-4D97-AF65-F5344CB8AC3E}">
        <p14:creationId xmlns:p14="http://schemas.microsoft.com/office/powerpoint/2010/main" val="343380643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err="1" smtClean="0"/>
              <a:t>The</a:t>
            </a:r>
            <a:r>
              <a:rPr lang="et-EE" dirty="0" smtClean="0"/>
              <a:t> road </a:t>
            </a:r>
            <a:r>
              <a:rPr lang="et-EE" dirty="0" err="1" smtClean="0"/>
              <a:t>ahead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793D6-1DDA-4B5C-932F-40F734EE7916}" type="datetime1">
              <a:rPr lang="en-GB" smtClean="0">
                <a:solidFill>
                  <a:prstClr val="black"/>
                </a:solidFill>
              </a:rPr>
              <a:pPr/>
              <a:t>10/12/2017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ESENTATION FOOTER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22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71999" y="1233299"/>
            <a:ext cx="208262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t-EE" b="1" dirty="0" err="1" smtClean="0">
                <a:solidFill>
                  <a:prstClr val="black"/>
                </a:solidFill>
              </a:rPr>
              <a:t>Some</a:t>
            </a:r>
            <a:r>
              <a:rPr lang="et-EE" b="1" dirty="0" smtClean="0">
                <a:solidFill>
                  <a:prstClr val="black"/>
                </a:solidFill>
              </a:rPr>
              <a:t> </a:t>
            </a:r>
            <a:r>
              <a:rPr lang="et-EE" b="1" dirty="0" err="1" smtClean="0">
                <a:solidFill>
                  <a:prstClr val="black"/>
                </a:solidFill>
              </a:rPr>
              <a:t>companies</a:t>
            </a:r>
            <a:endParaRPr lang="et-EE" b="1" dirty="0" smtClean="0">
              <a:solidFill>
                <a:prstClr val="black"/>
              </a:solidFill>
            </a:endParaRPr>
          </a:p>
          <a:p>
            <a:endParaRPr lang="et-EE" dirty="0">
              <a:solidFill>
                <a:prstClr val="black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3816" y="3944229"/>
            <a:ext cx="2438400" cy="178003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7972" y="2078407"/>
            <a:ext cx="3038384" cy="155345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999" y="1730399"/>
            <a:ext cx="2355668" cy="2223388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539075" y="1233299"/>
            <a:ext cx="109517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t-EE" b="1" dirty="0" smtClean="0">
                <a:solidFill>
                  <a:prstClr val="black"/>
                </a:solidFill>
              </a:rPr>
              <a:t>Telia EE</a:t>
            </a:r>
            <a:br>
              <a:rPr lang="et-EE" b="1" dirty="0" smtClean="0">
                <a:solidFill>
                  <a:prstClr val="black"/>
                </a:solidFill>
              </a:rPr>
            </a:br>
            <a:r>
              <a:rPr lang="et-EE" dirty="0" smtClean="0">
                <a:solidFill>
                  <a:prstClr val="black"/>
                </a:solidFill>
              </a:rPr>
              <a:t/>
            </a:r>
            <a:br>
              <a:rPr lang="et-EE" dirty="0" smtClean="0">
                <a:solidFill>
                  <a:prstClr val="black"/>
                </a:solidFill>
              </a:rPr>
            </a:br>
            <a:r>
              <a:rPr lang="et-EE" dirty="0" err="1" smtClean="0">
                <a:solidFill>
                  <a:prstClr val="black"/>
                </a:solidFill>
              </a:rPr>
              <a:t>mostly</a:t>
            </a:r>
            <a:endParaRPr lang="et-EE" dirty="0" smtClean="0">
              <a:solidFill>
                <a:prstClr val="black"/>
              </a:solidFill>
            </a:endParaRPr>
          </a:p>
          <a:p>
            <a:endParaRPr lang="et-EE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748069" y="1233298"/>
            <a:ext cx="208262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t-EE" b="1" dirty="0" err="1" smtClean="0">
                <a:solidFill>
                  <a:prstClr val="black"/>
                </a:solidFill>
              </a:rPr>
              <a:t>Some</a:t>
            </a:r>
            <a:r>
              <a:rPr lang="et-EE" b="1" dirty="0" smtClean="0">
                <a:solidFill>
                  <a:prstClr val="black"/>
                </a:solidFill>
              </a:rPr>
              <a:t> </a:t>
            </a:r>
            <a:r>
              <a:rPr lang="et-EE" b="1" dirty="0" err="1" smtClean="0">
                <a:solidFill>
                  <a:prstClr val="black"/>
                </a:solidFill>
              </a:rPr>
              <a:t>companies</a:t>
            </a:r>
            <a:endParaRPr lang="et-EE" b="1" dirty="0" smtClean="0">
              <a:solidFill>
                <a:prstClr val="black"/>
              </a:solidFill>
            </a:endParaRPr>
          </a:p>
          <a:p>
            <a:endParaRPr lang="et-EE" dirty="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46715" y="3631866"/>
            <a:ext cx="147989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t-EE" dirty="0" err="1" smtClean="0">
                <a:solidFill>
                  <a:prstClr val="black"/>
                </a:solidFill>
              </a:rPr>
              <a:t>Some</a:t>
            </a:r>
            <a:r>
              <a:rPr lang="et-EE" dirty="0" smtClean="0">
                <a:solidFill>
                  <a:prstClr val="black"/>
                </a:solidFill>
              </a:rPr>
              <a:t> </a:t>
            </a:r>
            <a:r>
              <a:rPr lang="et-EE" dirty="0" err="1" smtClean="0">
                <a:solidFill>
                  <a:prstClr val="black"/>
                </a:solidFill>
              </a:rPr>
              <a:t>teams</a:t>
            </a:r>
            <a:endParaRPr lang="et-EE" dirty="0" smtClean="0">
              <a:solidFill>
                <a:prstClr val="black"/>
              </a:solidFill>
            </a:endParaRPr>
          </a:p>
          <a:p>
            <a:endParaRPr lang="et-EE" dirty="0">
              <a:solidFill>
                <a:prstClr val="black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3319" y="1916711"/>
            <a:ext cx="3810000" cy="3800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44985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63493" y="1794510"/>
            <a:ext cx="5732507" cy="3120390"/>
          </a:xfrm>
        </p:spPr>
        <p:txBody>
          <a:bodyPr/>
          <a:lstStyle/>
          <a:p>
            <a:r>
              <a:rPr lang="et-EE" dirty="0" smtClean="0"/>
              <a:t>?</a:t>
            </a:r>
            <a:endParaRPr lang="en-GB" dirty="0"/>
          </a:p>
        </p:txBody>
      </p:sp>
      <p:pic>
        <p:nvPicPr>
          <p:cNvPr id="6" name="Content Placeholder 3"/>
          <p:cNvPicPr>
            <a:picLocks noGrp="1" noChangeAspect="1"/>
          </p:cNvPicPr>
          <p:nvPr>
            <p:ph type="pic" sz="quarter" idx="11"/>
          </p:nvPr>
        </p:nvPicPr>
        <p:blipFill>
          <a:blip r:embed="rId3"/>
          <a:srcRect l="4899" r="489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002254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E4459-7714-4389-A104-C3AE0EB678AC}" type="datetime1">
              <a:rPr lang="en-GB" smtClean="0">
                <a:solidFill>
                  <a:prstClr val="black"/>
                </a:solidFill>
              </a:rPr>
              <a:pPr/>
              <a:t>10/12/2017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ESENTATION FOOTER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3</a:t>
            </a:fld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42"/>
            <a:ext cx="12192000" cy="685371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97455" y="434668"/>
            <a:ext cx="60152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t-EE" sz="4800" dirty="0" smtClean="0">
                <a:solidFill>
                  <a:prstClr val="white"/>
                </a:solidFill>
                <a:latin typeface="Pebble"/>
              </a:rPr>
              <a:t>TELIA COMPANY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97455" y="1318402"/>
            <a:ext cx="6665205" cy="50629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t-EE" sz="2000" dirty="0" err="1">
                <a:solidFill>
                  <a:prstClr val="white"/>
                </a:solidFill>
              </a:rPr>
              <a:t>Founded</a:t>
            </a:r>
            <a:r>
              <a:rPr lang="et-EE" sz="2000" dirty="0">
                <a:solidFill>
                  <a:prstClr val="white"/>
                </a:solidFill>
              </a:rPr>
              <a:t> in </a:t>
            </a:r>
            <a:r>
              <a:rPr lang="et-EE" sz="2000" dirty="0" smtClean="0">
                <a:solidFill>
                  <a:prstClr val="white"/>
                </a:solidFill>
              </a:rPr>
              <a:t>1853</a:t>
            </a:r>
          </a:p>
          <a:p>
            <a:endParaRPr lang="et-EE" sz="900" dirty="0">
              <a:solidFill>
                <a:prstClr val="white"/>
              </a:solidFill>
            </a:endParaRPr>
          </a:p>
          <a:p>
            <a:r>
              <a:rPr lang="en-GB" sz="2000" dirty="0">
                <a:solidFill>
                  <a:prstClr val="white"/>
                </a:solidFill>
              </a:rPr>
              <a:t>More than 21 000 employees work in Nordic and Baltic markets as well as in Russia, Azerbaijan, Georgia, Kazakhstan, Moldova</a:t>
            </a:r>
            <a:r>
              <a:rPr lang="en-GB" sz="2000" dirty="0" smtClean="0">
                <a:solidFill>
                  <a:prstClr val="white"/>
                </a:solidFill>
              </a:rPr>
              <a:t>, </a:t>
            </a:r>
            <a:r>
              <a:rPr lang="en-GB" sz="2000" dirty="0">
                <a:solidFill>
                  <a:prstClr val="white"/>
                </a:solidFill>
              </a:rPr>
              <a:t>Turkey and Uzbekistan</a:t>
            </a:r>
            <a:r>
              <a:rPr lang="en-GB" sz="2000" dirty="0" smtClean="0">
                <a:solidFill>
                  <a:prstClr val="white"/>
                </a:solidFill>
              </a:rPr>
              <a:t>.</a:t>
            </a:r>
            <a:endParaRPr lang="et-EE" sz="2000" dirty="0" smtClean="0">
              <a:solidFill>
                <a:prstClr val="white"/>
              </a:solidFill>
            </a:endParaRPr>
          </a:p>
          <a:p>
            <a:endParaRPr lang="et-EE" sz="2000" dirty="0">
              <a:solidFill>
                <a:prstClr val="white"/>
              </a:solidFill>
            </a:endParaRPr>
          </a:p>
          <a:p>
            <a:pPr>
              <a:spcBef>
                <a:spcPts val="0"/>
              </a:spcBef>
            </a:pPr>
            <a:r>
              <a:rPr lang="et-EE" sz="2000" dirty="0" err="1">
                <a:solidFill>
                  <a:schemeClr val="bg1"/>
                </a:solidFill>
              </a:rPr>
              <a:t>Key</a:t>
            </a:r>
            <a:r>
              <a:rPr lang="et-EE" sz="2000" dirty="0">
                <a:solidFill>
                  <a:schemeClr val="bg1"/>
                </a:solidFill>
              </a:rPr>
              <a:t> </a:t>
            </a:r>
            <a:r>
              <a:rPr lang="et-EE" sz="2000" dirty="0" err="1">
                <a:solidFill>
                  <a:schemeClr val="bg1"/>
                </a:solidFill>
              </a:rPr>
              <a:t>figures</a:t>
            </a:r>
            <a:r>
              <a:rPr lang="et-EE" sz="2000" dirty="0">
                <a:solidFill>
                  <a:schemeClr val="bg1"/>
                </a:solidFill>
              </a:rPr>
              <a:t> </a:t>
            </a:r>
            <a:r>
              <a:rPr lang="et-EE" sz="2000" dirty="0" err="1">
                <a:solidFill>
                  <a:schemeClr val="bg1"/>
                </a:solidFill>
              </a:rPr>
              <a:t>as</a:t>
            </a:r>
            <a:r>
              <a:rPr lang="et-EE" sz="2000" dirty="0">
                <a:solidFill>
                  <a:schemeClr val="bg1"/>
                </a:solidFill>
              </a:rPr>
              <a:t> </a:t>
            </a:r>
            <a:r>
              <a:rPr lang="en-US" sz="2000" dirty="0">
                <a:solidFill>
                  <a:schemeClr val="bg1"/>
                </a:solidFill>
              </a:rPr>
              <a:t>of year-end 2016 for continuing operations</a:t>
            </a:r>
            <a:r>
              <a:rPr lang="et-EE" sz="2000" dirty="0">
                <a:solidFill>
                  <a:schemeClr val="bg1"/>
                </a:solidFill>
              </a:rPr>
              <a:t>: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bg1"/>
                </a:solidFill>
              </a:rPr>
              <a:t>net sales SEK 84,178 million</a:t>
            </a:r>
            <a:endParaRPr lang="et-EE" sz="20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bg1"/>
                </a:solidFill>
              </a:rPr>
              <a:t>EBITDA SEK 25,836 million (</a:t>
            </a:r>
            <a:r>
              <a:rPr lang="en-GB" sz="2000" dirty="0" err="1">
                <a:solidFill>
                  <a:schemeClr val="bg1"/>
                </a:solidFill>
              </a:rPr>
              <a:t>excl</a:t>
            </a:r>
            <a:r>
              <a:rPr lang="en-GB" sz="2000" dirty="0">
                <a:solidFill>
                  <a:schemeClr val="bg1"/>
                </a:solidFill>
              </a:rPr>
              <a:t> non-recurring items)</a:t>
            </a:r>
            <a:endParaRPr lang="et-EE" sz="20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bg1"/>
                </a:solidFill>
              </a:rPr>
              <a:t>CAPEX SEK 15,625 million</a:t>
            </a:r>
            <a:endParaRPr lang="et-EE" sz="2000" dirty="0">
              <a:solidFill>
                <a:schemeClr val="bg1"/>
              </a:solidFill>
            </a:endParaRP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bg1"/>
                </a:solidFill>
              </a:rPr>
              <a:t>2</a:t>
            </a:r>
            <a:r>
              <a:rPr lang="et-EE" sz="2000" dirty="0">
                <a:solidFill>
                  <a:schemeClr val="bg1"/>
                </a:solidFill>
              </a:rPr>
              <a:t>3.5</a:t>
            </a:r>
            <a:r>
              <a:rPr lang="en-GB" sz="2000" dirty="0">
                <a:solidFill>
                  <a:schemeClr val="bg1"/>
                </a:solidFill>
              </a:rPr>
              <a:t> million subscriptions</a:t>
            </a:r>
            <a:endParaRPr lang="et-EE" sz="2400" dirty="0">
              <a:solidFill>
                <a:schemeClr val="bg1"/>
              </a:solidFill>
            </a:endParaRPr>
          </a:p>
          <a:p>
            <a:r>
              <a:rPr lang="en-GB" sz="2400" dirty="0" smtClean="0">
                <a:solidFill>
                  <a:prstClr val="white"/>
                </a:solidFill>
              </a:rPr>
              <a:t> </a:t>
            </a:r>
            <a:endParaRPr lang="et-EE" sz="2400" dirty="0" smtClean="0">
              <a:solidFill>
                <a:prstClr val="white"/>
              </a:solidFill>
            </a:endParaRPr>
          </a:p>
          <a:p>
            <a:endParaRPr lang="et-EE" sz="1000" dirty="0">
              <a:solidFill>
                <a:prstClr val="white"/>
              </a:solidFill>
            </a:endParaRPr>
          </a:p>
          <a:p>
            <a:endParaRPr lang="et-EE" sz="2000" dirty="0">
              <a:solidFill>
                <a:prstClr val="white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6605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E4459-7714-4389-A104-C3AE0EB678AC}" type="datetime1">
              <a:rPr lang="en-GB" smtClean="0">
                <a:solidFill>
                  <a:prstClr val="black"/>
                </a:solidFill>
              </a:rPr>
              <a:pPr/>
              <a:t>10/12/2017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ESENTATION FOOTER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4</a:t>
            </a:fld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6" y="0"/>
            <a:ext cx="12178468" cy="6858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04778" y="354993"/>
            <a:ext cx="43346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t-EE" sz="4800" dirty="0" smtClean="0">
                <a:solidFill>
                  <a:schemeClr val="bg1"/>
                </a:solidFill>
                <a:latin typeface="+mj-lt"/>
              </a:rPr>
              <a:t>TELIA EESTI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04778" y="1616075"/>
            <a:ext cx="8791096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schemeClr val="bg1"/>
                </a:solidFill>
              </a:rPr>
              <a:t>EMT </a:t>
            </a:r>
            <a:r>
              <a:rPr lang="et-EE" sz="2000" dirty="0" err="1" smtClean="0">
                <a:solidFill>
                  <a:schemeClr val="bg1"/>
                </a:solidFill>
              </a:rPr>
              <a:t>was</a:t>
            </a:r>
            <a:r>
              <a:rPr lang="et-EE" sz="2000" dirty="0" smtClean="0">
                <a:solidFill>
                  <a:schemeClr val="bg1"/>
                </a:solidFill>
              </a:rPr>
              <a:t> </a:t>
            </a:r>
            <a:r>
              <a:rPr lang="et-EE" sz="2000" dirty="0" err="1" smtClean="0">
                <a:solidFill>
                  <a:schemeClr val="bg1"/>
                </a:solidFill>
              </a:rPr>
              <a:t>founded</a:t>
            </a:r>
            <a:r>
              <a:rPr lang="et-EE" sz="2000" dirty="0" smtClean="0">
                <a:solidFill>
                  <a:schemeClr val="bg1"/>
                </a:solidFill>
              </a:rPr>
              <a:t> in </a:t>
            </a:r>
            <a:r>
              <a:rPr lang="en-GB" sz="2000" dirty="0" smtClean="0">
                <a:solidFill>
                  <a:schemeClr val="bg1"/>
                </a:solidFill>
              </a:rPr>
              <a:t>199</a:t>
            </a:r>
            <a:r>
              <a:rPr lang="et-EE" sz="2000" dirty="0" smtClean="0">
                <a:solidFill>
                  <a:schemeClr val="bg1"/>
                </a:solidFill>
              </a:rPr>
              <a:t>1, </a:t>
            </a:r>
            <a:r>
              <a:rPr lang="en-GB" sz="2000" dirty="0" smtClean="0">
                <a:solidFill>
                  <a:schemeClr val="bg1"/>
                </a:solidFill>
              </a:rPr>
              <a:t>Elion </a:t>
            </a:r>
            <a:r>
              <a:rPr lang="et-EE" sz="2000" dirty="0" smtClean="0">
                <a:solidFill>
                  <a:schemeClr val="bg1"/>
                </a:solidFill>
              </a:rPr>
              <a:t>in </a:t>
            </a:r>
            <a:r>
              <a:rPr lang="en-GB" sz="2000" dirty="0" smtClean="0">
                <a:solidFill>
                  <a:schemeClr val="bg1"/>
                </a:solidFill>
              </a:rPr>
              <a:t>1993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schemeClr val="bg1"/>
                </a:solidFill>
              </a:rPr>
              <a:t>Approx. 1800 employe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schemeClr val="bg1"/>
                </a:solidFill>
              </a:rPr>
              <a:t>Market leader in all </a:t>
            </a:r>
            <a:r>
              <a:rPr lang="et-EE" sz="2000" dirty="0" smtClean="0">
                <a:solidFill>
                  <a:schemeClr val="bg1"/>
                </a:solidFill>
              </a:rPr>
              <a:t>of </a:t>
            </a:r>
            <a:r>
              <a:rPr lang="en-GB" sz="2000" dirty="0" smtClean="0">
                <a:solidFill>
                  <a:schemeClr val="bg1"/>
                </a:solidFill>
              </a:rPr>
              <a:t>its focus areas</a:t>
            </a:r>
            <a:r>
              <a:rPr lang="et-EE" sz="2000" dirty="0" smtClean="0">
                <a:solidFill>
                  <a:schemeClr val="bg1"/>
                </a:solidFill>
              </a:rPr>
              <a:t>: </a:t>
            </a:r>
            <a:r>
              <a:rPr lang="et-EE" sz="2000" dirty="0" err="1" smtClean="0">
                <a:solidFill>
                  <a:schemeClr val="bg1"/>
                </a:solidFill>
              </a:rPr>
              <a:t>mobile</a:t>
            </a:r>
            <a:r>
              <a:rPr lang="et-EE" sz="2000" dirty="0" smtClean="0">
                <a:solidFill>
                  <a:schemeClr val="bg1"/>
                </a:solidFill>
              </a:rPr>
              <a:t>,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t-EE" sz="2000" dirty="0" err="1" smtClean="0">
                <a:solidFill>
                  <a:schemeClr val="bg1"/>
                </a:solidFill>
              </a:rPr>
              <a:t>broadband</a:t>
            </a:r>
            <a:r>
              <a:rPr lang="et-EE" sz="2000" dirty="0" smtClean="0">
                <a:solidFill>
                  <a:schemeClr val="bg1"/>
                </a:solidFill>
              </a:rPr>
              <a:t>, TV and ICT </a:t>
            </a:r>
            <a:r>
              <a:rPr lang="et-EE" sz="2000" dirty="0" err="1" smtClean="0">
                <a:solidFill>
                  <a:schemeClr val="bg1"/>
                </a:solidFill>
              </a:rPr>
              <a:t>services</a:t>
            </a:r>
            <a:endParaRPr lang="en-GB" sz="2000" dirty="0" smtClean="0">
              <a:solidFill>
                <a:schemeClr val="bg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schemeClr val="bg1"/>
                </a:solidFill>
              </a:rPr>
              <a:t>4</a:t>
            </a:r>
            <a:r>
              <a:rPr lang="en-GB" sz="2000" baseline="30000" dirty="0" smtClean="0">
                <a:solidFill>
                  <a:schemeClr val="bg1"/>
                </a:solidFill>
              </a:rPr>
              <a:t>th</a:t>
            </a:r>
            <a:r>
              <a:rPr lang="et-EE" sz="2000" dirty="0" smtClean="0">
                <a:solidFill>
                  <a:schemeClr val="bg1"/>
                </a:solidFill>
              </a:rPr>
              <a:t> </a:t>
            </a:r>
            <a:r>
              <a:rPr lang="et-EE" sz="2000" dirty="0" err="1" smtClean="0">
                <a:solidFill>
                  <a:schemeClr val="bg1"/>
                </a:solidFill>
              </a:rPr>
              <a:t>place</a:t>
            </a:r>
            <a:r>
              <a:rPr lang="et-EE" sz="2000" dirty="0" smtClean="0">
                <a:solidFill>
                  <a:schemeClr val="bg1"/>
                </a:solidFill>
              </a:rPr>
              <a:t> in Estonian </a:t>
            </a:r>
            <a:r>
              <a:rPr lang="et-EE" sz="2000" dirty="0" err="1" smtClean="0">
                <a:solidFill>
                  <a:schemeClr val="bg1"/>
                </a:solidFill>
              </a:rPr>
              <a:t>brand</a:t>
            </a:r>
            <a:r>
              <a:rPr lang="et-EE" sz="2000" dirty="0" smtClean="0">
                <a:solidFill>
                  <a:schemeClr val="bg1"/>
                </a:solidFill>
              </a:rPr>
              <a:t> </a:t>
            </a:r>
            <a:r>
              <a:rPr lang="en-GB" sz="2000" dirty="0" smtClean="0">
                <a:solidFill>
                  <a:schemeClr val="bg1"/>
                </a:solidFill>
              </a:rPr>
              <a:t>reputation index </a:t>
            </a:r>
            <a:r>
              <a:rPr lang="et-EE" sz="2000" dirty="0" smtClean="0">
                <a:solidFill>
                  <a:schemeClr val="bg1"/>
                </a:solidFill>
              </a:rPr>
              <a:t>in </a:t>
            </a:r>
            <a:r>
              <a:rPr lang="en-GB" sz="2000" dirty="0" smtClean="0">
                <a:solidFill>
                  <a:schemeClr val="bg1"/>
                </a:solidFill>
              </a:rPr>
              <a:t>2016</a:t>
            </a:r>
            <a:endParaRPr lang="et-EE" sz="2000" dirty="0" smtClean="0">
              <a:solidFill>
                <a:schemeClr val="bg1"/>
              </a:solidFill>
            </a:endParaRP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t-EE" sz="2000" dirty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GB" sz="2000" dirty="0">
                <a:solidFill>
                  <a:schemeClr val="bg1"/>
                </a:solidFill>
              </a:rPr>
              <a:t>As of end of</a:t>
            </a:r>
            <a:r>
              <a:rPr lang="et-EE" sz="2000" dirty="0">
                <a:solidFill>
                  <a:schemeClr val="bg1"/>
                </a:solidFill>
              </a:rPr>
              <a:t> Q2</a:t>
            </a:r>
            <a:r>
              <a:rPr lang="en-GB" sz="2000" dirty="0">
                <a:solidFill>
                  <a:schemeClr val="bg1"/>
                </a:solidFill>
              </a:rPr>
              <a:t> 201</a:t>
            </a:r>
            <a:r>
              <a:rPr lang="et-EE" sz="2000" dirty="0">
                <a:solidFill>
                  <a:schemeClr val="bg1"/>
                </a:solidFill>
              </a:rPr>
              <a:t>7: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t-EE" sz="2000" b="1" dirty="0">
              <a:solidFill>
                <a:schemeClr val="bg1"/>
              </a:solidFill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t-EE" sz="2000" dirty="0" smtClean="0">
                <a:solidFill>
                  <a:schemeClr val="bg1"/>
                </a:solidFill>
              </a:rPr>
              <a:t>918,</a:t>
            </a:r>
            <a:r>
              <a:rPr lang="en-GB" sz="2000" dirty="0" smtClean="0">
                <a:solidFill>
                  <a:schemeClr val="bg1"/>
                </a:solidFill>
              </a:rPr>
              <a:t>000 </a:t>
            </a:r>
            <a:r>
              <a:rPr lang="en-GB" sz="2000" dirty="0">
                <a:solidFill>
                  <a:schemeClr val="bg1"/>
                </a:solidFill>
              </a:rPr>
              <a:t>mobile customers </a:t>
            </a:r>
            <a:endParaRPr lang="et-EE" sz="2000" dirty="0">
              <a:solidFill>
                <a:schemeClr val="bg1"/>
              </a:solidFill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t-EE" sz="2000" dirty="0" smtClean="0">
                <a:solidFill>
                  <a:schemeClr val="bg1"/>
                </a:solidFill>
              </a:rPr>
              <a:t>347,</a:t>
            </a:r>
            <a:r>
              <a:rPr lang="en-GB" sz="2000" dirty="0" smtClean="0">
                <a:solidFill>
                  <a:schemeClr val="bg1"/>
                </a:solidFill>
              </a:rPr>
              <a:t>000 </a:t>
            </a:r>
            <a:r>
              <a:rPr lang="en-GB" sz="2000" dirty="0">
                <a:solidFill>
                  <a:schemeClr val="bg1"/>
                </a:solidFill>
              </a:rPr>
              <a:t>active users of mobile internet </a:t>
            </a:r>
            <a:endParaRPr lang="et-EE" sz="2000" dirty="0">
              <a:solidFill>
                <a:schemeClr val="bg1"/>
              </a:solidFill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bg1"/>
                </a:solidFill>
              </a:rPr>
              <a:t>23</a:t>
            </a:r>
            <a:r>
              <a:rPr lang="et-EE" sz="2000" dirty="0">
                <a:solidFill>
                  <a:schemeClr val="bg1"/>
                </a:solidFill>
              </a:rPr>
              <a:t>3</a:t>
            </a:r>
            <a:r>
              <a:rPr lang="en-GB" sz="2000" dirty="0">
                <a:solidFill>
                  <a:schemeClr val="bg1"/>
                </a:solidFill>
              </a:rPr>
              <a:t>,000 broadband subscribers </a:t>
            </a:r>
            <a:endParaRPr lang="et-EE" sz="2000" dirty="0">
              <a:solidFill>
                <a:schemeClr val="bg1"/>
              </a:solidFill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bg1"/>
                </a:solidFill>
              </a:rPr>
              <a:t>17</a:t>
            </a:r>
            <a:r>
              <a:rPr lang="et-EE" sz="2000" dirty="0">
                <a:solidFill>
                  <a:schemeClr val="bg1"/>
                </a:solidFill>
              </a:rPr>
              <a:t>7</a:t>
            </a:r>
            <a:r>
              <a:rPr lang="en-GB" sz="2000" dirty="0">
                <a:solidFill>
                  <a:schemeClr val="bg1"/>
                </a:solidFill>
              </a:rPr>
              <a:t>,000 TV </a:t>
            </a:r>
            <a:r>
              <a:rPr lang="en-GB" sz="2000" dirty="0" smtClean="0">
                <a:solidFill>
                  <a:schemeClr val="bg1"/>
                </a:solidFill>
              </a:rPr>
              <a:t>customer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4919" y="217545"/>
            <a:ext cx="2064166" cy="206416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017353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 err="1" smtClean="0"/>
              <a:t>Different</a:t>
            </a:r>
            <a:r>
              <a:rPr lang="et-EE" dirty="0" smtClean="0"/>
              <a:t> </a:t>
            </a:r>
            <a:r>
              <a:rPr lang="et-EE" dirty="0" err="1" smtClean="0"/>
              <a:t>maturity</a:t>
            </a:r>
            <a:r>
              <a:rPr lang="et-EE" dirty="0" smtClean="0"/>
              <a:t> </a:t>
            </a:r>
            <a:r>
              <a:rPr lang="et-EE" dirty="0" err="1" smtClean="0"/>
              <a:t>levels</a:t>
            </a:r>
            <a:r>
              <a:rPr lang="et-EE" dirty="0" smtClean="0"/>
              <a:t> in Telia EE </a:t>
            </a:r>
            <a:r>
              <a:rPr lang="et-EE" dirty="0" err="1" smtClean="0"/>
              <a:t>tech</a:t>
            </a:r>
            <a:r>
              <a:rPr lang="et-EE" dirty="0" smtClean="0"/>
              <a:t> </a:t>
            </a:r>
            <a:r>
              <a:rPr lang="et-EE" dirty="0" err="1" smtClean="0"/>
              <a:t>towards</a:t>
            </a:r>
            <a:r>
              <a:rPr lang="et-EE" dirty="0" smtClean="0"/>
              <a:t> </a:t>
            </a:r>
            <a:r>
              <a:rPr lang="et-EE" dirty="0" err="1" smtClean="0"/>
              <a:t>devops</a:t>
            </a:r>
            <a:endParaRPr lang="et-E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0FFF0-F7DD-407A-9AA6-72E7E3690154}" type="datetime1">
              <a:rPr lang="en-GB" smtClean="0">
                <a:solidFill>
                  <a:prstClr val="black"/>
                </a:solidFill>
              </a:rPr>
              <a:pPr/>
              <a:t>10/12/2017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ESENTATION FOOTER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5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358774" y="1841223"/>
            <a:ext cx="11471275" cy="4572001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t-EE" dirty="0" err="1" smtClean="0"/>
              <a:t>Technology</a:t>
            </a:r>
            <a:r>
              <a:rPr lang="et-EE" dirty="0" smtClean="0"/>
              <a:t> </a:t>
            </a:r>
            <a:r>
              <a:rPr lang="et-EE" dirty="0" err="1" smtClean="0"/>
              <a:t>driven</a:t>
            </a:r>
            <a:r>
              <a:rPr lang="et-EE" dirty="0" smtClean="0"/>
              <a:t> – </a:t>
            </a:r>
            <a:r>
              <a:rPr lang="et-EE" dirty="0" err="1" smtClean="0"/>
              <a:t>technology</a:t>
            </a:r>
            <a:r>
              <a:rPr lang="et-EE" dirty="0" smtClean="0"/>
              <a:t> </a:t>
            </a:r>
            <a:r>
              <a:rPr lang="et-EE" dirty="0" err="1" smtClean="0"/>
              <a:t>management</a:t>
            </a:r>
            <a:endParaRPr lang="et-EE" dirty="0" smtClean="0"/>
          </a:p>
          <a:p>
            <a:pPr marL="457200" indent="-457200">
              <a:buFont typeface="+mj-lt"/>
              <a:buAutoNum type="arabicPeriod"/>
            </a:pPr>
            <a:r>
              <a:rPr lang="et-EE" dirty="0" err="1" smtClean="0"/>
              <a:t>Process</a:t>
            </a:r>
            <a:r>
              <a:rPr lang="et-EE" dirty="0" smtClean="0"/>
              <a:t> </a:t>
            </a:r>
            <a:r>
              <a:rPr lang="et-EE" dirty="0" err="1" smtClean="0"/>
              <a:t>driven</a:t>
            </a:r>
            <a:r>
              <a:rPr lang="et-EE" dirty="0" smtClean="0"/>
              <a:t> – </a:t>
            </a:r>
            <a:r>
              <a:rPr lang="et-EE" dirty="0" err="1" smtClean="0"/>
              <a:t>process</a:t>
            </a:r>
            <a:r>
              <a:rPr lang="et-EE" dirty="0" smtClean="0"/>
              <a:t> </a:t>
            </a:r>
            <a:r>
              <a:rPr lang="et-EE" dirty="0" err="1" smtClean="0"/>
              <a:t>management</a:t>
            </a:r>
            <a:r>
              <a:rPr lang="et-EE" dirty="0" smtClean="0"/>
              <a:t> – </a:t>
            </a:r>
            <a:r>
              <a:rPr lang="et-EE" dirty="0" err="1" smtClean="0"/>
              <a:t>full-scale</a:t>
            </a:r>
            <a:r>
              <a:rPr lang="et-EE" dirty="0" smtClean="0"/>
              <a:t> </a:t>
            </a:r>
            <a:r>
              <a:rPr lang="et-EE" dirty="0" err="1" smtClean="0"/>
              <a:t>implementation</a:t>
            </a:r>
            <a:r>
              <a:rPr lang="et-EE" dirty="0" smtClean="0"/>
              <a:t> </a:t>
            </a:r>
            <a:r>
              <a:rPr lang="et-EE" dirty="0" err="1" smtClean="0"/>
              <a:t>started</a:t>
            </a:r>
            <a:r>
              <a:rPr lang="et-EE" dirty="0" smtClean="0"/>
              <a:t> in 2011</a:t>
            </a:r>
          </a:p>
          <a:p>
            <a:pPr marL="457200" indent="-457200">
              <a:buFont typeface="+mj-lt"/>
              <a:buAutoNum type="arabicPeriod"/>
            </a:pPr>
            <a:r>
              <a:rPr lang="et-EE" dirty="0" smtClean="0"/>
              <a:t>Service </a:t>
            </a:r>
            <a:r>
              <a:rPr lang="et-EE" dirty="0" err="1" smtClean="0"/>
              <a:t>driven</a:t>
            </a:r>
            <a:r>
              <a:rPr lang="et-EE" dirty="0" smtClean="0"/>
              <a:t> – </a:t>
            </a:r>
            <a:r>
              <a:rPr lang="et-EE" dirty="0" err="1" smtClean="0"/>
              <a:t>service</a:t>
            </a:r>
            <a:r>
              <a:rPr lang="et-EE" dirty="0" smtClean="0"/>
              <a:t> </a:t>
            </a:r>
            <a:r>
              <a:rPr lang="et-EE" dirty="0" err="1" smtClean="0"/>
              <a:t>maintenance</a:t>
            </a:r>
            <a:r>
              <a:rPr lang="et-EE" dirty="0" smtClean="0"/>
              <a:t> </a:t>
            </a:r>
            <a:r>
              <a:rPr lang="et-EE" dirty="0" err="1" smtClean="0"/>
              <a:t>management</a:t>
            </a:r>
            <a:r>
              <a:rPr lang="et-EE" dirty="0" smtClean="0"/>
              <a:t> - 2013 </a:t>
            </a:r>
          </a:p>
          <a:p>
            <a:pPr marL="457200" indent="-457200">
              <a:buFont typeface="+mj-lt"/>
              <a:buAutoNum type="arabicPeriod"/>
            </a:pPr>
            <a:r>
              <a:rPr lang="et-EE" dirty="0" err="1" smtClean="0"/>
              <a:t>Devops</a:t>
            </a:r>
            <a:r>
              <a:rPr lang="et-EE" dirty="0" smtClean="0"/>
              <a:t> </a:t>
            </a:r>
            <a:r>
              <a:rPr lang="et-EE" dirty="0" err="1" smtClean="0"/>
              <a:t>driven</a:t>
            </a:r>
            <a:r>
              <a:rPr lang="et-EE" dirty="0" smtClean="0"/>
              <a:t> – </a:t>
            </a:r>
            <a:r>
              <a:rPr lang="et-EE" dirty="0" err="1" smtClean="0"/>
              <a:t>service</a:t>
            </a:r>
            <a:r>
              <a:rPr lang="et-EE" dirty="0" smtClean="0"/>
              <a:t> </a:t>
            </a:r>
            <a:r>
              <a:rPr lang="et-EE" dirty="0" err="1" smtClean="0"/>
              <a:t>lifecycle</a:t>
            </a:r>
            <a:r>
              <a:rPr lang="et-EE" dirty="0" smtClean="0"/>
              <a:t> </a:t>
            </a:r>
            <a:r>
              <a:rPr lang="et-EE" dirty="0" err="1" smtClean="0"/>
              <a:t>management</a:t>
            </a:r>
            <a:r>
              <a:rPr lang="et-EE" dirty="0" smtClean="0"/>
              <a:t> - 2016</a:t>
            </a:r>
          </a:p>
          <a:p>
            <a:pPr marL="457200" indent="-457200">
              <a:buFont typeface="+mj-lt"/>
              <a:buAutoNum type="arabicPeriod"/>
            </a:pPr>
            <a:r>
              <a:rPr lang="et-EE" dirty="0" err="1" smtClean="0"/>
              <a:t>BizDevOps</a:t>
            </a:r>
            <a:r>
              <a:rPr lang="et-EE" dirty="0" smtClean="0"/>
              <a:t>?</a:t>
            </a:r>
            <a:endParaRPr lang="et-EE" dirty="0"/>
          </a:p>
        </p:txBody>
      </p:sp>
    </p:spTree>
    <p:extLst>
      <p:ext uri="{BB962C8B-B14F-4D97-AF65-F5344CB8AC3E}">
        <p14:creationId xmlns:p14="http://schemas.microsoft.com/office/powerpoint/2010/main" val="3769915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/>
          <p:cNvPicPr/>
          <p:nvPr/>
        </p:nvPicPr>
        <p:blipFill>
          <a:blip r:embed="rId3"/>
          <a:stretch/>
        </p:blipFill>
        <p:spPr>
          <a:xfrm>
            <a:off x="0" y="-203200"/>
            <a:ext cx="12192000" cy="734060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815822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t="184"/>
          <a:stretch/>
        </p:blipFill>
        <p:spPr>
          <a:xfrm>
            <a:off x="0" y="-12700"/>
            <a:ext cx="12192000" cy="688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90417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0" y="0"/>
            <a:ext cx="12186080" cy="6858000"/>
          </a:xfrm>
          <a:prstGeom prst="rect">
            <a:avLst/>
          </a:prstGeom>
        </p:spPr>
      </p:pic>
      <p:sp>
        <p:nvSpPr>
          <p:cNvPr id="13" name="Title 1"/>
          <p:cNvSpPr txBox="1">
            <a:spLocks/>
          </p:cNvSpPr>
          <p:nvPr/>
        </p:nvSpPr>
        <p:spPr>
          <a:xfrm>
            <a:off x="358774" y="422400"/>
            <a:ext cx="11471275" cy="915635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500" b="0" kern="1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t-EE" sz="4000" dirty="0" smtClean="0">
                <a:solidFill>
                  <a:schemeClr val="bg1"/>
                </a:solidFill>
              </a:rPr>
              <a:t>VISION </a:t>
            </a:r>
            <a:r>
              <a:rPr lang="et-EE" sz="4000" smtClean="0">
                <a:solidFill>
                  <a:schemeClr val="bg1"/>
                </a:solidFill>
              </a:rPr>
              <a:t>OF TECHNOLOGY </a:t>
            </a:r>
            <a:r>
              <a:rPr lang="et-EE" sz="4000" dirty="0" smtClean="0">
                <a:solidFill>
                  <a:schemeClr val="bg1"/>
                </a:solidFill>
              </a:rPr>
              <a:t>2017</a:t>
            </a:r>
            <a:r>
              <a:rPr lang="et-EE" sz="4000" dirty="0">
                <a:solidFill>
                  <a:schemeClr val="bg1"/>
                </a:solidFill>
              </a:rPr>
              <a:t/>
            </a:r>
            <a:br>
              <a:rPr lang="et-EE" sz="4000" dirty="0">
                <a:solidFill>
                  <a:schemeClr val="bg1"/>
                </a:solidFill>
              </a:rPr>
            </a:br>
            <a:endParaRPr lang="en-US" sz="4000" dirty="0">
              <a:ln w="3175"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28" name="Pealkiri 1"/>
          <p:cNvSpPr txBox="1">
            <a:spLocks/>
          </p:cNvSpPr>
          <p:nvPr/>
        </p:nvSpPr>
        <p:spPr>
          <a:xfrm>
            <a:off x="358774" y="1759451"/>
            <a:ext cx="11039029" cy="39750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400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t-EE" sz="2800" dirty="0" smtClean="0">
                <a:solidFill>
                  <a:schemeClr val="bg1"/>
                </a:solidFill>
              </a:rPr>
              <a:t>meeskonnad tunnevad omanikutunnet oma teenuste eest ja on iseseisvad ning kompetentsed nende arendamisel ja haldamisel. Infrastruktuur ja platvormid on kasutatavad teenustena.</a:t>
            </a:r>
            <a:br>
              <a:rPr lang="et-EE" sz="2800" dirty="0" smtClean="0">
                <a:solidFill>
                  <a:schemeClr val="bg1"/>
                </a:solidFill>
              </a:rPr>
            </a:br>
            <a:r>
              <a:rPr lang="et-EE" sz="2800" dirty="0" smtClean="0">
                <a:solidFill>
                  <a:schemeClr val="bg1"/>
                </a:solidFill>
              </a:rPr>
              <a:t/>
            </a:r>
            <a:br>
              <a:rPr lang="et-EE" sz="2800" dirty="0" smtClean="0">
                <a:solidFill>
                  <a:schemeClr val="bg1"/>
                </a:solidFill>
              </a:rPr>
            </a:br>
            <a:r>
              <a:rPr lang="et-EE" sz="2800" dirty="0" smtClean="0">
                <a:solidFill>
                  <a:schemeClr val="bg1"/>
                </a:solidFill>
              </a:rPr>
              <a:t/>
            </a:r>
            <a:br>
              <a:rPr lang="et-EE" sz="2800" dirty="0" smtClean="0">
                <a:solidFill>
                  <a:schemeClr val="bg1"/>
                </a:solidFill>
              </a:rPr>
            </a:br>
            <a:r>
              <a:rPr lang="et-EE" sz="2800" dirty="0" err="1" smtClean="0">
                <a:solidFill>
                  <a:schemeClr val="bg1"/>
                </a:solidFill>
              </a:rPr>
              <a:t>teams</a:t>
            </a:r>
            <a:r>
              <a:rPr lang="et-EE" sz="2800" dirty="0" smtClean="0">
                <a:solidFill>
                  <a:schemeClr val="bg1"/>
                </a:solidFill>
              </a:rPr>
              <a:t> feel </a:t>
            </a:r>
            <a:r>
              <a:rPr lang="et-EE" sz="2800" dirty="0" err="1" smtClean="0">
                <a:solidFill>
                  <a:schemeClr val="bg1"/>
                </a:solidFill>
              </a:rPr>
              <a:t>ownership</a:t>
            </a:r>
            <a:r>
              <a:rPr lang="et-EE" sz="2800" dirty="0" smtClean="0">
                <a:solidFill>
                  <a:schemeClr val="bg1"/>
                </a:solidFill>
              </a:rPr>
              <a:t> of </a:t>
            </a:r>
            <a:r>
              <a:rPr lang="et-EE" sz="2800" dirty="0" err="1" smtClean="0">
                <a:solidFill>
                  <a:schemeClr val="bg1"/>
                </a:solidFill>
              </a:rPr>
              <a:t>their</a:t>
            </a:r>
            <a:r>
              <a:rPr lang="et-EE" sz="2800" dirty="0" smtClean="0">
                <a:solidFill>
                  <a:schemeClr val="bg1"/>
                </a:solidFill>
              </a:rPr>
              <a:t> services. </a:t>
            </a:r>
            <a:br>
              <a:rPr lang="et-EE" sz="2800" dirty="0" smtClean="0">
                <a:solidFill>
                  <a:schemeClr val="bg1"/>
                </a:solidFill>
              </a:rPr>
            </a:br>
            <a:r>
              <a:rPr lang="et-EE" sz="2800" dirty="0" err="1" smtClean="0">
                <a:solidFill>
                  <a:schemeClr val="bg1"/>
                </a:solidFill>
              </a:rPr>
              <a:t>They</a:t>
            </a:r>
            <a:r>
              <a:rPr lang="et-EE" sz="2800" dirty="0" smtClean="0">
                <a:solidFill>
                  <a:schemeClr val="bg1"/>
                </a:solidFill>
              </a:rPr>
              <a:t> are </a:t>
            </a:r>
            <a:r>
              <a:rPr lang="et-EE" sz="2800" dirty="0" err="1" smtClean="0">
                <a:solidFill>
                  <a:schemeClr val="bg1"/>
                </a:solidFill>
              </a:rPr>
              <a:t>independent</a:t>
            </a:r>
            <a:r>
              <a:rPr lang="et-EE" sz="2800" dirty="0" smtClean="0">
                <a:solidFill>
                  <a:schemeClr val="bg1"/>
                </a:solidFill>
              </a:rPr>
              <a:t> and </a:t>
            </a:r>
            <a:r>
              <a:rPr lang="et-EE" sz="2800" dirty="0" err="1" smtClean="0">
                <a:solidFill>
                  <a:schemeClr val="bg1"/>
                </a:solidFill>
              </a:rPr>
              <a:t>have</a:t>
            </a:r>
            <a:r>
              <a:rPr lang="et-EE" sz="2800" dirty="0" smtClean="0">
                <a:solidFill>
                  <a:schemeClr val="bg1"/>
                </a:solidFill>
              </a:rPr>
              <a:t> </a:t>
            </a:r>
            <a:r>
              <a:rPr lang="et-EE" sz="2800" dirty="0" err="1" smtClean="0">
                <a:solidFill>
                  <a:schemeClr val="bg1"/>
                </a:solidFill>
              </a:rPr>
              <a:t>the</a:t>
            </a:r>
            <a:r>
              <a:rPr lang="et-EE" sz="2800" dirty="0" smtClean="0">
                <a:solidFill>
                  <a:schemeClr val="bg1"/>
                </a:solidFill>
              </a:rPr>
              <a:t> </a:t>
            </a:r>
            <a:r>
              <a:rPr lang="et-EE" sz="2800" dirty="0" err="1" smtClean="0">
                <a:solidFill>
                  <a:schemeClr val="bg1"/>
                </a:solidFill>
              </a:rPr>
              <a:t>competence</a:t>
            </a:r>
            <a:r>
              <a:rPr lang="et-EE" sz="2800" dirty="0" smtClean="0">
                <a:solidFill>
                  <a:schemeClr val="bg1"/>
                </a:solidFill>
              </a:rPr>
              <a:t> </a:t>
            </a:r>
            <a:r>
              <a:rPr lang="et-EE" sz="2800" dirty="0" err="1" smtClean="0">
                <a:solidFill>
                  <a:schemeClr val="bg1"/>
                </a:solidFill>
              </a:rPr>
              <a:t>to</a:t>
            </a:r>
            <a:r>
              <a:rPr lang="et-EE" sz="2800" dirty="0" smtClean="0">
                <a:solidFill>
                  <a:schemeClr val="bg1"/>
                </a:solidFill>
              </a:rPr>
              <a:t> </a:t>
            </a:r>
            <a:r>
              <a:rPr lang="et-EE" sz="2800" dirty="0" err="1" smtClean="0">
                <a:solidFill>
                  <a:schemeClr val="bg1"/>
                </a:solidFill>
              </a:rPr>
              <a:t>both</a:t>
            </a:r>
            <a:r>
              <a:rPr lang="et-EE" sz="2800" dirty="0" smtClean="0">
                <a:solidFill>
                  <a:schemeClr val="bg1"/>
                </a:solidFill>
              </a:rPr>
              <a:t> </a:t>
            </a:r>
            <a:r>
              <a:rPr lang="et-EE" sz="2800" dirty="0" err="1" smtClean="0">
                <a:solidFill>
                  <a:schemeClr val="bg1"/>
                </a:solidFill>
              </a:rPr>
              <a:t>develop</a:t>
            </a:r>
            <a:r>
              <a:rPr lang="et-EE" sz="2800" dirty="0" smtClean="0">
                <a:solidFill>
                  <a:schemeClr val="bg1"/>
                </a:solidFill>
              </a:rPr>
              <a:t> and </a:t>
            </a:r>
            <a:r>
              <a:rPr lang="et-EE" sz="2800" dirty="0" err="1" smtClean="0">
                <a:solidFill>
                  <a:schemeClr val="bg1"/>
                </a:solidFill>
              </a:rPr>
              <a:t>operate</a:t>
            </a:r>
            <a:r>
              <a:rPr lang="et-EE" sz="2800" dirty="0" smtClean="0">
                <a:solidFill>
                  <a:schemeClr val="bg1"/>
                </a:solidFill>
              </a:rPr>
              <a:t> </a:t>
            </a:r>
            <a:r>
              <a:rPr lang="et-EE" sz="2800" dirty="0" err="1" smtClean="0">
                <a:solidFill>
                  <a:schemeClr val="bg1"/>
                </a:solidFill>
              </a:rPr>
              <a:t>their</a:t>
            </a:r>
            <a:r>
              <a:rPr lang="et-EE" sz="2800" dirty="0" smtClean="0">
                <a:solidFill>
                  <a:schemeClr val="bg1"/>
                </a:solidFill>
              </a:rPr>
              <a:t> services. </a:t>
            </a:r>
            <a:r>
              <a:rPr lang="et-EE" sz="2800" dirty="0" err="1" smtClean="0">
                <a:solidFill>
                  <a:schemeClr val="bg1"/>
                </a:solidFill>
              </a:rPr>
              <a:t>Infrastructure</a:t>
            </a:r>
            <a:r>
              <a:rPr lang="et-EE" sz="2800" dirty="0" smtClean="0">
                <a:solidFill>
                  <a:schemeClr val="bg1"/>
                </a:solidFill>
              </a:rPr>
              <a:t> and </a:t>
            </a:r>
            <a:r>
              <a:rPr lang="et-EE" sz="2800" dirty="0" err="1" smtClean="0">
                <a:solidFill>
                  <a:schemeClr val="bg1"/>
                </a:solidFill>
              </a:rPr>
              <a:t>platforms</a:t>
            </a:r>
            <a:r>
              <a:rPr lang="et-EE" sz="2800" dirty="0" smtClean="0">
                <a:solidFill>
                  <a:schemeClr val="bg1"/>
                </a:solidFill>
              </a:rPr>
              <a:t> </a:t>
            </a:r>
            <a:r>
              <a:rPr lang="et-EE" sz="2800" dirty="0" err="1" smtClean="0">
                <a:solidFill>
                  <a:schemeClr val="bg1"/>
                </a:solidFill>
              </a:rPr>
              <a:t>used</a:t>
            </a:r>
            <a:r>
              <a:rPr lang="et-EE" sz="2800" dirty="0" smtClean="0">
                <a:solidFill>
                  <a:schemeClr val="bg1"/>
                </a:solidFill>
              </a:rPr>
              <a:t> </a:t>
            </a:r>
            <a:r>
              <a:rPr lang="et-EE" sz="2800" dirty="0" err="1" smtClean="0">
                <a:solidFill>
                  <a:schemeClr val="bg1"/>
                </a:solidFill>
              </a:rPr>
              <a:t>as</a:t>
            </a:r>
            <a:r>
              <a:rPr lang="et-EE" sz="2800" dirty="0" smtClean="0">
                <a:solidFill>
                  <a:schemeClr val="bg1"/>
                </a:solidFill>
              </a:rPr>
              <a:t> a </a:t>
            </a:r>
            <a:r>
              <a:rPr lang="et-EE" sz="2800" dirty="0" err="1" smtClean="0">
                <a:solidFill>
                  <a:schemeClr val="bg1"/>
                </a:solidFill>
              </a:rPr>
              <a:t>service</a:t>
            </a:r>
            <a:r>
              <a:rPr lang="et-EE" sz="2800" dirty="0" smtClean="0">
                <a:solidFill>
                  <a:schemeClr val="bg1"/>
                </a:solidFill>
              </a:rPr>
              <a:t>.</a:t>
            </a:r>
            <a:br>
              <a:rPr lang="et-EE" sz="2800" dirty="0" smtClean="0">
                <a:solidFill>
                  <a:schemeClr val="bg1"/>
                </a:solidFill>
              </a:rPr>
            </a:br>
            <a:endParaRPr lang="en-GB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965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C2C257-330F-409C-BC18-18554D16EFA6}" type="slidenum">
              <a:rPr lang="en-GB" noProof="0" smtClean="0">
                <a:solidFill>
                  <a:srgbClr val="C7C2BA"/>
                </a:solidFill>
              </a:rPr>
              <a:pPr/>
              <a:t>9</a:t>
            </a:fld>
            <a:endParaRPr lang="en-GB" noProof="0" dirty="0">
              <a:solidFill>
                <a:srgbClr val="C7C2BA"/>
              </a:solidFill>
            </a:endParaRPr>
          </a:p>
        </p:txBody>
      </p:sp>
      <p:sp>
        <p:nvSpPr>
          <p:cNvPr id="16" name="Title 2"/>
          <p:cNvSpPr txBox="1">
            <a:spLocks/>
          </p:cNvSpPr>
          <p:nvPr/>
        </p:nvSpPr>
        <p:spPr bwMode="auto">
          <a:xfrm>
            <a:off x="539999" y="337421"/>
            <a:ext cx="10728101" cy="1128245"/>
          </a:xfrm>
          <a:prstGeom prst="roundRect">
            <a:avLst>
              <a:gd name="adj" fmla="val 7778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8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accent1"/>
                </a:solidFill>
                <a:latin typeface="Arial" charset="0"/>
              </a:defRPr>
            </a:lvl9pPr>
          </a:lstStyle>
          <a:p>
            <a:r>
              <a:rPr lang="et-EE" sz="3467" kern="0" cap="all" dirty="0" smtClean="0"/>
              <a:t>WHY?</a:t>
            </a:r>
            <a:endParaRPr lang="et-EE" sz="2600" kern="0" cap="all" dirty="0"/>
          </a:p>
          <a:p>
            <a:endParaRPr lang="et-EE" sz="2400" b="1" kern="0" cap="all" dirty="0" smtClean="0"/>
          </a:p>
        </p:txBody>
      </p:sp>
      <p:sp>
        <p:nvSpPr>
          <p:cNvPr id="2" name="TextBox 1"/>
          <p:cNvSpPr txBox="1"/>
          <p:nvPr/>
        </p:nvSpPr>
        <p:spPr>
          <a:xfrm>
            <a:off x="755999" y="1422401"/>
            <a:ext cx="10828866" cy="47089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t-EE" sz="2400" kern="0" dirty="0" err="1" smtClean="0"/>
              <a:t>Break</a:t>
            </a:r>
            <a:r>
              <a:rPr lang="et-EE" sz="2400" kern="0" dirty="0" smtClean="0"/>
              <a:t> </a:t>
            </a:r>
            <a:r>
              <a:rPr lang="et-EE" sz="2400" kern="0" dirty="0" err="1" smtClean="0"/>
              <a:t>the</a:t>
            </a:r>
            <a:r>
              <a:rPr lang="et-EE" sz="2400" kern="0" dirty="0" smtClean="0"/>
              <a:t> silos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t-EE" sz="2400" kern="0" dirty="0" err="1" smtClean="0"/>
              <a:t>Speed</a:t>
            </a:r>
            <a:endParaRPr lang="et-EE" sz="2400" kern="0" dirty="0" smtClean="0"/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t-EE" sz="2400" kern="0" dirty="0" err="1" smtClean="0"/>
              <a:t>Efficiency</a:t>
            </a:r>
            <a:endParaRPr lang="et-EE" sz="2400" kern="0" dirty="0" smtClean="0"/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t-EE" sz="2400" kern="0" dirty="0" err="1" smtClean="0"/>
              <a:t>Quality</a:t>
            </a:r>
            <a:endParaRPr lang="et-EE" sz="2400" kern="0" dirty="0" smtClean="0"/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t-EE" sz="2400" kern="0" dirty="0" err="1" smtClean="0"/>
              <a:t>World</a:t>
            </a:r>
            <a:r>
              <a:rPr lang="et-EE" sz="2400" kern="0" dirty="0" smtClean="0"/>
              <a:t> </a:t>
            </a:r>
            <a:r>
              <a:rPr lang="et-EE" sz="2400" kern="0" dirty="0" err="1" smtClean="0"/>
              <a:t>is</a:t>
            </a:r>
            <a:r>
              <a:rPr lang="et-EE" sz="2400" kern="0" dirty="0" smtClean="0"/>
              <a:t> </a:t>
            </a:r>
            <a:r>
              <a:rPr lang="et-EE" sz="2400" kern="0" dirty="0" err="1" smtClean="0"/>
              <a:t>changing</a:t>
            </a:r>
            <a:r>
              <a:rPr lang="et-EE" sz="2400" kern="0" dirty="0" smtClean="0"/>
              <a:t> (no </a:t>
            </a:r>
            <a:r>
              <a:rPr lang="et-EE" sz="2400" kern="0" dirty="0" err="1" smtClean="0"/>
              <a:t>suprise</a:t>
            </a:r>
            <a:r>
              <a:rPr lang="et-EE" sz="2400" kern="0" dirty="0" smtClean="0"/>
              <a:t> </a:t>
            </a:r>
            <a:r>
              <a:rPr lang="et-EE" sz="2400" kern="0" dirty="0" err="1" smtClean="0"/>
              <a:t>there</a:t>
            </a:r>
            <a:r>
              <a:rPr lang="et-EE" sz="2400" kern="0" dirty="0" smtClean="0"/>
              <a:t>)</a:t>
            </a:r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t-EE" sz="2400" kern="0" dirty="0" smtClean="0"/>
              <a:t>New </a:t>
            </a:r>
            <a:r>
              <a:rPr lang="et-EE" sz="2400" kern="0" dirty="0" err="1" smtClean="0"/>
              <a:t>technologies</a:t>
            </a:r>
            <a:r>
              <a:rPr lang="et-EE" sz="2400" kern="0" dirty="0" smtClean="0"/>
              <a:t> </a:t>
            </a:r>
            <a:r>
              <a:rPr lang="et-EE" sz="2400" kern="0" dirty="0" err="1" smtClean="0"/>
              <a:t>emerging</a:t>
            </a:r>
            <a:endParaRPr lang="et-EE" sz="2400" kern="0" dirty="0" smtClean="0"/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t-EE" sz="2400" kern="0" dirty="0" err="1" smtClean="0"/>
              <a:t>Hard</a:t>
            </a:r>
            <a:r>
              <a:rPr lang="et-EE" sz="2400" kern="0" dirty="0" smtClean="0"/>
              <a:t> </a:t>
            </a:r>
            <a:r>
              <a:rPr lang="et-EE" sz="2400" kern="0" dirty="0" err="1" smtClean="0"/>
              <a:t>to</a:t>
            </a:r>
            <a:r>
              <a:rPr lang="et-EE" sz="2400" kern="0" dirty="0" smtClean="0"/>
              <a:t> keep </a:t>
            </a:r>
            <a:r>
              <a:rPr lang="et-EE" sz="2400" kern="0" dirty="0" err="1" smtClean="0"/>
              <a:t>people</a:t>
            </a:r>
            <a:r>
              <a:rPr lang="et-EE" sz="2400" kern="0" dirty="0" smtClean="0"/>
              <a:t> </a:t>
            </a:r>
            <a:r>
              <a:rPr lang="et-EE" sz="2400" kern="0" dirty="0" err="1" smtClean="0"/>
              <a:t>motivated</a:t>
            </a:r>
            <a:r>
              <a:rPr lang="et-EE" sz="2400" kern="0" dirty="0" smtClean="0"/>
              <a:t> </a:t>
            </a:r>
            <a:r>
              <a:rPr lang="et-EE" sz="2400" kern="0" dirty="0" err="1" smtClean="0"/>
              <a:t>with</a:t>
            </a:r>
            <a:r>
              <a:rPr lang="et-EE" sz="2400" kern="0" dirty="0" smtClean="0"/>
              <a:t> </a:t>
            </a:r>
            <a:r>
              <a:rPr lang="et-EE" sz="2400" kern="0" dirty="0" err="1" smtClean="0"/>
              <a:t>old</a:t>
            </a:r>
            <a:r>
              <a:rPr lang="et-EE" sz="2400" kern="0" dirty="0" smtClean="0"/>
              <a:t> </a:t>
            </a:r>
            <a:r>
              <a:rPr lang="et-EE" sz="2400" kern="0" dirty="0" err="1" smtClean="0"/>
              <a:t>WoW</a:t>
            </a:r>
            <a:endParaRPr lang="et-EE" sz="2400" kern="0" dirty="0" smtClean="0"/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et-EE" kern="0" dirty="0"/>
          </a:p>
          <a:p>
            <a:pPr>
              <a:lnSpc>
                <a:spcPct val="150000"/>
              </a:lnSpc>
            </a:pPr>
            <a:endParaRPr lang="et-EE" dirty="0" err="1" smtClean="0"/>
          </a:p>
        </p:txBody>
      </p:sp>
    </p:spTree>
    <p:extLst>
      <p:ext uri="{BB962C8B-B14F-4D97-AF65-F5344CB8AC3E}">
        <p14:creationId xmlns:p14="http://schemas.microsoft.com/office/powerpoint/2010/main" val="4320345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ia Group">
  <a:themeElements>
    <a:clrScheme name="Telia Group">
      <a:dk1>
        <a:sysClr val="windowText" lastClr="000000"/>
      </a:dk1>
      <a:lt1>
        <a:sysClr val="window" lastClr="FFFFFF"/>
      </a:lt1>
      <a:dk2>
        <a:srgbClr val="990AE3"/>
      </a:dk2>
      <a:lt2>
        <a:srgbClr val="E7E6E6"/>
      </a:lt2>
      <a:accent1>
        <a:srgbClr val="32FF00"/>
      </a:accent1>
      <a:accent2>
        <a:srgbClr val="00CDFF"/>
      </a:accent2>
      <a:accent3>
        <a:srgbClr val="00CDCD"/>
      </a:accent3>
      <a:accent4>
        <a:srgbClr val="FF00CC"/>
      </a:accent4>
      <a:accent5>
        <a:srgbClr val="FF3264"/>
      </a:accent5>
      <a:accent6>
        <a:srgbClr val="FF9B00"/>
      </a:accent6>
      <a:hlink>
        <a:srgbClr val="000000"/>
      </a:hlink>
      <a:folHlink>
        <a:srgbClr val="000000"/>
      </a:folHlink>
    </a:clrScheme>
    <a:fontScheme name="Telia Group">
      <a:majorFont>
        <a:latin typeface="Pebble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wrap="none" lIns="360000" tIns="180000" rIns="360000" bIns="180000" rtlCol="0" anchor="ctr">
        <a:spAutoFit/>
      </a:bodyPr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/>
          </a:solidFill>
          <a:tailEnd type="arrow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eliaGroup-PPTTemplate-v1" id="{696C4DCC-CAB1-4959-ADB7-5CC43013627E}" vid="{01C72879-5FFA-44DF-B390-CF6CB474E922}"/>
    </a:ext>
  </a:extLst>
</a:theme>
</file>

<file path=ppt/theme/theme2.xml><?xml version="1.0" encoding="utf-8"?>
<a:theme xmlns:a="http://schemas.openxmlformats.org/drawingml/2006/main" name="Telia Standard Template">
  <a:themeElements>
    <a:clrScheme name="Telia Company">
      <a:dk1>
        <a:sysClr val="windowText" lastClr="000000"/>
      </a:dk1>
      <a:lt1>
        <a:sysClr val="window" lastClr="FFFFFF"/>
      </a:lt1>
      <a:dk2>
        <a:srgbClr val="990AE3"/>
      </a:dk2>
      <a:lt2>
        <a:srgbClr val="EEEEEE"/>
      </a:lt2>
      <a:accent1>
        <a:srgbClr val="990AE3"/>
      </a:accent1>
      <a:accent2>
        <a:srgbClr val="00CDFF"/>
      </a:accent2>
      <a:accent3>
        <a:srgbClr val="FF00CD"/>
      </a:accent3>
      <a:accent4>
        <a:srgbClr val="0099FF"/>
      </a:accent4>
      <a:accent5>
        <a:srgbClr val="FF9B00"/>
      </a:accent5>
      <a:accent6>
        <a:srgbClr val="CC00FF"/>
      </a:accent6>
      <a:hlink>
        <a:srgbClr val="000000"/>
      </a:hlink>
      <a:folHlink>
        <a:srgbClr val="000000"/>
      </a:folHlink>
    </a:clrScheme>
    <a:fontScheme name="Telia Group">
      <a:majorFont>
        <a:latin typeface="Pebble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wrap="square" lIns="180000" tIns="180000" rIns="180000" bIns="180000" rtlCol="0" anchor="ctr">
        <a:noAutofit/>
      </a:bodyPr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0">
          <a:solidFill>
            <a:schemeClr val="accent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liaCompany.potx" id="{DFD15578-60C1-46A8-B867-808C0D745DFD}" vid="{C4088D8E-47C3-4790-9AE8-3FA2632C2959}"/>
    </a:ext>
  </a:extLst>
</a:theme>
</file>

<file path=ppt/theme/theme3.xml><?xml version="1.0" encoding="utf-8"?>
<a:theme xmlns:a="http://schemas.openxmlformats.org/drawingml/2006/main" name="1_Telia Standard Template">
  <a:themeElements>
    <a:clrScheme name="Telia Company">
      <a:dk1>
        <a:sysClr val="windowText" lastClr="000000"/>
      </a:dk1>
      <a:lt1>
        <a:sysClr val="window" lastClr="FFFFFF"/>
      </a:lt1>
      <a:dk2>
        <a:srgbClr val="990AE3"/>
      </a:dk2>
      <a:lt2>
        <a:srgbClr val="EEEEEE"/>
      </a:lt2>
      <a:accent1>
        <a:srgbClr val="990AE3"/>
      </a:accent1>
      <a:accent2>
        <a:srgbClr val="00CDFF"/>
      </a:accent2>
      <a:accent3>
        <a:srgbClr val="FF00CD"/>
      </a:accent3>
      <a:accent4>
        <a:srgbClr val="0099FF"/>
      </a:accent4>
      <a:accent5>
        <a:srgbClr val="FF9B00"/>
      </a:accent5>
      <a:accent6>
        <a:srgbClr val="CC00FF"/>
      </a:accent6>
      <a:hlink>
        <a:srgbClr val="000000"/>
      </a:hlink>
      <a:folHlink>
        <a:srgbClr val="000000"/>
      </a:folHlink>
    </a:clrScheme>
    <a:fontScheme name="Telia Group">
      <a:majorFont>
        <a:latin typeface="Pebble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wrap="square" lIns="180000" tIns="180000" rIns="180000" bIns="180000" rtlCol="0" anchor="ctr">
        <a:noAutofit/>
      </a:bodyPr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0">
          <a:solidFill>
            <a:schemeClr val="accent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liaCompany.potx" id="{DFD15578-60C1-46A8-B867-808C0D745DFD}" vid="{C4088D8E-47C3-4790-9AE8-3FA2632C2959}"/>
    </a:ext>
  </a:extLst>
</a:theme>
</file>

<file path=ppt/theme/theme4.xml><?xml version="1.0" encoding="utf-8"?>
<a:theme xmlns:a="http://schemas.openxmlformats.org/drawingml/2006/main" name="5_Telia Group">
  <a:themeElements>
    <a:clrScheme name="Telia Group">
      <a:dk1>
        <a:sysClr val="windowText" lastClr="000000"/>
      </a:dk1>
      <a:lt1>
        <a:sysClr val="window" lastClr="FFFFFF"/>
      </a:lt1>
      <a:dk2>
        <a:srgbClr val="990AE3"/>
      </a:dk2>
      <a:lt2>
        <a:srgbClr val="E7E6E6"/>
      </a:lt2>
      <a:accent1>
        <a:srgbClr val="32FF00"/>
      </a:accent1>
      <a:accent2>
        <a:srgbClr val="00CDFF"/>
      </a:accent2>
      <a:accent3>
        <a:srgbClr val="00CDCD"/>
      </a:accent3>
      <a:accent4>
        <a:srgbClr val="FF00CC"/>
      </a:accent4>
      <a:accent5>
        <a:srgbClr val="FF3264"/>
      </a:accent5>
      <a:accent6>
        <a:srgbClr val="FF9B00"/>
      </a:accent6>
      <a:hlink>
        <a:srgbClr val="000000"/>
      </a:hlink>
      <a:folHlink>
        <a:srgbClr val="000000"/>
      </a:folHlink>
    </a:clrScheme>
    <a:fontScheme name="Telia Group">
      <a:majorFont>
        <a:latin typeface="Pebble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wrap="none" lIns="360000" tIns="180000" rIns="360000" bIns="180000" rtlCol="0" anchor="ctr">
        <a:spAutoFit/>
      </a:bodyPr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/>
          </a:solidFill>
          <a:tailEnd type="arrow" w="med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eliaGroup-PPTTemplate-v1" id="{696C4DCC-CAB1-4959-ADB7-5CC43013627E}" vid="{01C72879-5FFA-44DF-B390-CF6CB474E922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enuste haldus_Telia Eesti (uus)</Template>
  <TotalTime>0</TotalTime>
  <Words>1375</Words>
  <Application>Microsoft Office PowerPoint</Application>
  <PresentationFormat>Widescreen</PresentationFormat>
  <Paragraphs>236</Paragraphs>
  <Slides>23</Slides>
  <Notes>7</Notes>
  <HiddenSlides>2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4" baseType="lpstr">
      <vt:lpstr>Arial</vt:lpstr>
      <vt:lpstr>Wingdings</vt:lpstr>
      <vt:lpstr>Helvetica Neue Thin</vt:lpstr>
      <vt:lpstr>Pebble</vt:lpstr>
      <vt:lpstr>Calibri</vt:lpstr>
      <vt:lpstr>Times New Roman</vt:lpstr>
      <vt:lpstr>Telia Group</vt:lpstr>
      <vt:lpstr>Telia Standard Template</vt:lpstr>
      <vt:lpstr>1_Telia Standard Template</vt:lpstr>
      <vt:lpstr>5_Telia Group</vt:lpstr>
      <vt:lpstr>think-cell Slide</vt:lpstr>
      <vt:lpstr>DevOps in Telia estonia  You build it, you run it </vt:lpstr>
      <vt:lpstr>Topics</vt:lpstr>
      <vt:lpstr>PowerPoint Presentation</vt:lpstr>
      <vt:lpstr>PowerPoint Presentation</vt:lpstr>
      <vt:lpstr>Different maturity levels in Telia EE tech towards devops</vt:lpstr>
      <vt:lpstr>PowerPoint Presentation</vt:lpstr>
      <vt:lpstr>PowerPoint Presentation</vt:lpstr>
      <vt:lpstr>PowerPoint Presentation</vt:lpstr>
      <vt:lpstr>PowerPoint Presentation</vt:lpstr>
      <vt:lpstr>Change of service team responsibilities - technical layer view</vt:lpstr>
      <vt:lpstr>PowerPoint Presentation</vt:lpstr>
      <vt:lpstr>PowerPoint Presentation</vt:lpstr>
      <vt:lpstr>Devops implementation kickoff in july 2016: New teams and service handovers</vt:lpstr>
      <vt:lpstr>Any problems?</vt:lpstr>
      <vt:lpstr>Initial ops training programme</vt:lpstr>
      <vt:lpstr>Systematic approach for comp management</vt:lpstr>
      <vt:lpstr>OPS compentence hands-on training programme </vt:lpstr>
      <vt:lpstr>OPS Mentorship programme</vt:lpstr>
      <vt:lpstr>Devops implementation governance model</vt:lpstr>
      <vt:lpstr>Retro 1 year later – view from the teams</vt:lpstr>
      <vt:lpstr>Main learnings</vt:lpstr>
      <vt:lpstr>The road ahead</vt:lpstr>
      <vt:lpstr>?</vt:lpstr>
    </vt:vector>
  </TitlesOfParts>
  <Manager/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5-13T07:08:11Z</dcterms:created>
  <dcterms:modified xsi:type="dcterms:W3CDTF">2017-12-10T20:27:34Z</dcterms:modified>
</cp:coreProperties>
</file>